
<file path=[Content_Types].xml><?xml version="1.0" encoding="utf-8"?>
<Types xmlns="http://schemas.openxmlformats.org/package/2006/content-types">
  <Default Extension="gif" ContentType="image/gif"/>
  <Default Extension="jpeg" ContentType="image/jpeg"/>
  <Default Extension="mp4" ContentType="video/mp4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70"/>
  </p:notesMasterIdLst>
  <p:sldIdLst>
    <p:sldId id="256" r:id="rId2"/>
    <p:sldId id="2147483635" r:id="rId3"/>
    <p:sldId id="2147483636" r:id="rId4"/>
    <p:sldId id="2147483637" r:id="rId5"/>
    <p:sldId id="259" r:id="rId6"/>
    <p:sldId id="2147483638" r:id="rId7"/>
    <p:sldId id="2147483639" r:id="rId8"/>
    <p:sldId id="2147483640" r:id="rId9"/>
    <p:sldId id="265" r:id="rId10"/>
    <p:sldId id="2147483641" r:id="rId11"/>
    <p:sldId id="266" r:id="rId12"/>
    <p:sldId id="2147483642" r:id="rId13"/>
    <p:sldId id="2147483644" r:id="rId14"/>
    <p:sldId id="273" r:id="rId15"/>
    <p:sldId id="267" r:id="rId16"/>
    <p:sldId id="274" r:id="rId17"/>
    <p:sldId id="268" r:id="rId18"/>
    <p:sldId id="269" r:id="rId19"/>
    <p:sldId id="2147483643" r:id="rId20"/>
    <p:sldId id="270" r:id="rId21"/>
    <p:sldId id="271" r:id="rId22"/>
    <p:sldId id="272" r:id="rId23"/>
    <p:sldId id="257" r:id="rId24"/>
    <p:sldId id="263" r:id="rId25"/>
    <p:sldId id="261" r:id="rId26"/>
    <p:sldId id="2147483601" r:id="rId27"/>
    <p:sldId id="2147483602" r:id="rId28"/>
    <p:sldId id="2147483603" r:id="rId29"/>
    <p:sldId id="2147483604" r:id="rId30"/>
    <p:sldId id="2147483605" r:id="rId31"/>
    <p:sldId id="2147483606" r:id="rId32"/>
    <p:sldId id="2147483607" r:id="rId33"/>
    <p:sldId id="2147483608" r:id="rId34"/>
    <p:sldId id="2147483609" r:id="rId35"/>
    <p:sldId id="2147483610" r:id="rId36"/>
    <p:sldId id="2147483617" r:id="rId37"/>
    <p:sldId id="2147483616" r:id="rId38"/>
    <p:sldId id="2147483614" r:id="rId39"/>
    <p:sldId id="2147483611" r:id="rId40"/>
    <p:sldId id="2147483615" r:id="rId41"/>
    <p:sldId id="2147483613" r:id="rId42"/>
    <p:sldId id="2147483620" r:id="rId43"/>
    <p:sldId id="2147483621" r:id="rId44"/>
    <p:sldId id="2147483622" r:id="rId45"/>
    <p:sldId id="2147483623" r:id="rId46"/>
    <p:sldId id="2147483624" r:id="rId47"/>
    <p:sldId id="2147483626" r:id="rId48"/>
    <p:sldId id="2147483619" r:id="rId49"/>
    <p:sldId id="2147483627" r:id="rId50"/>
    <p:sldId id="2147483625" r:id="rId51"/>
    <p:sldId id="2147483629" r:id="rId52"/>
    <p:sldId id="2147483628" r:id="rId53"/>
    <p:sldId id="2147483630" r:id="rId54"/>
    <p:sldId id="2147483631" r:id="rId55"/>
    <p:sldId id="2147483632" r:id="rId56"/>
    <p:sldId id="2147483633" r:id="rId57"/>
    <p:sldId id="2147483634" r:id="rId58"/>
    <p:sldId id="264" r:id="rId59"/>
    <p:sldId id="2147483645" r:id="rId60"/>
    <p:sldId id="2147483647" r:id="rId61"/>
    <p:sldId id="260" r:id="rId62"/>
    <p:sldId id="275" r:id="rId63"/>
    <p:sldId id="276" r:id="rId64"/>
    <p:sldId id="258" r:id="rId65"/>
    <p:sldId id="2147483612" r:id="rId66"/>
    <p:sldId id="2147483600" r:id="rId67"/>
    <p:sldId id="262" r:id="rId68"/>
    <p:sldId id="2147483646" r:id="rId69"/>
  </p:sldIdLst>
  <p:sldSz cx="12192000" cy="6858000"/>
  <p:notesSz cx="6858000" cy="9144000"/>
  <p:defaultTextStyle>
    <a:defPPr>
      <a:defRPr lang="pt-B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B8934B"/>
    <a:srgbClr val="BA954C"/>
    <a:srgbClr val="BDBCBE"/>
    <a:srgbClr val="00000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8600" autoAdjust="0"/>
    <p:restoredTop sz="93447" autoAdjust="0"/>
  </p:normalViewPr>
  <p:slideViewPr>
    <p:cSldViewPr snapToGrid="0">
      <p:cViewPr varScale="1">
        <p:scale>
          <a:sx n="63" d="100"/>
          <a:sy n="63" d="100"/>
        </p:scale>
        <p:origin x="664" y="5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5.xml"/><Relationship Id="rId21" Type="http://schemas.openxmlformats.org/officeDocument/2006/relationships/slide" Target="slides/slide20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63" Type="http://schemas.openxmlformats.org/officeDocument/2006/relationships/slide" Target="slides/slide62.xml"/><Relationship Id="rId68" Type="http://schemas.openxmlformats.org/officeDocument/2006/relationships/slide" Target="slides/slide67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slide" Target="slides/slide52.xml"/><Relationship Id="rId58" Type="http://schemas.openxmlformats.org/officeDocument/2006/relationships/slide" Target="slides/slide57.xml"/><Relationship Id="rId66" Type="http://schemas.openxmlformats.org/officeDocument/2006/relationships/slide" Target="slides/slide65.xml"/><Relationship Id="rId74" Type="http://schemas.openxmlformats.org/officeDocument/2006/relationships/tableStyles" Target="tableStyles.xml"/><Relationship Id="rId5" Type="http://schemas.openxmlformats.org/officeDocument/2006/relationships/slide" Target="slides/slide4.xml"/><Relationship Id="rId61" Type="http://schemas.openxmlformats.org/officeDocument/2006/relationships/slide" Target="slides/slide60.xml"/><Relationship Id="rId19" Type="http://schemas.openxmlformats.org/officeDocument/2006/relationships/slide" Target="slides/slide1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slide" Target="slides/slide55.xml"/><Relationship Id="rId64" Type="http://schemas.openxmlformats.org/officeDocument/2006/relationships/slide" Target="slides/slide63.xml"/><Relationship Id="rId69" Type="http://schemas.openxmlformats.org/officeDocument/2006/relationships/slide" Target="slides/slide68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72" Type="http://schemas.openxmlformats.org/officeDocument/2006/relationships/viewProps" Target="viewProps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slide" Target="slides/slide58.xml"/><Relationship Id="rId67" Type="http://schemas.openxmlformats.org/officeDocument/2006/relationships/slide" Target="slides/slide66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slide" Target="slides/slide53.xml"/><Relationship Id="rId62" Type="http://schemas.openxmlformats.org/officeDocument/2006/relationships/slide" Target="slides/slide61.xml"/><Relationship Id="rId70" Type="http://schemas.openxmlformats.org/officeDocument/2006/relationships/notesMaster" Target="notesMasters/notesMaster1.xml"/><Relationship Id="rId75" Type="http://schemas.microsoft.com/office/2016/11/relationships/changesInfo" Target="changesInfos/changesInfo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slide" Target="slides/slide56.xml"/><Relationship Id="rId10" Type="http://schemas.openxmlformats.org/officeDocument/2006/relationships/slide" Target="slides/slide9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60" Type="http://schemas.openxmlformats.org/officeDocument/2006/relationships/slide" Target="slides/slide59.xml"/><Relationship Id="rId65" Type="http://schemas.openxmlformats.org/officeDocument/2006/relationships/slide" Target="slides/slide64.xml"/><Relationship Id="rId73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9" Type="http://schemas.openxmlformats.org/officeDocument/2006/relationships/slide" Target="slides/slide38.xml"/><Relationship Id="rId34" Type="http://schemas.openxmlformats.org/officeDocument/2006/relationships/slide" Target="slides/slide33.xml"/><Relationship Id="rId50" Type="http://schemas.openxmlformats.org/officeDocument/2006/relationships/slide" Target="slides/slide49.xml"/><Relationship Id="rId55" Type="http://schemas.openxmlformats.org/officeDocument/2006/relationships/slide" Target="slides/slide54.xml"/><Relationship Id="rId7" Type="http://schemas.openxmlformats.org/officeDocument/2006/relationships/slide" Target="slides/slide6.xml"/><Relationship Id="rId71" Type="http://schemas.openxmlformats.org/officeDocument/2006/relationships/presProps" Target="pres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MAYCON RIBEIRO BELMIRO" userId="47bef541-8a05-4031-a4ea-b714aaf9f105" providerId="ADAL" clId="{A30C9A1E-D251-44DB-9134-1A4999AEBF52}"/>
    <pc:docChg chg="undo redo custSel addSld delSld modSld sldOrd modMainMaster">
      <pc:chgData name="MAYCON RIBEIRO BELMIRO" userId="47bef541-8a05-4031-a4ea-b714aaf9f105" providerId="ADAL" clId="{A30C9A1E-D251-44DB-9134-1A4999AEBF52}" dt="2026-03-31T17:38:55.394" v="2899" actId="729"/>
      <pc:docMkLst>
        <pc:docMk/>
      </pc:docMkLst>
      <pc:sldChg chg="setBg">
        <pc:chgData name="MAYCON RIBEIRO BELMIRO" userId="47bef541-8a05-4031-a4ea-b714aaf9f105" providerId="ADAL" clId="{A30C9A1E-D251-44DB-9134-1A4999AEBF52}" dt="2026-03-06T15:45:19.842" v="2761"/>
        <pc:sldMkLst>
          <pc:docMk/>
          <pc:sldMk cId="2474699580" sldId="256"/>
        </pc:sldMkLst>
      </pc:sldChg>
      <pc:sldChg chg="setBg">
        <pc:chgData name="MAYCON RIBEIRO BELMIRO" userId="47bef541-8a05-4031-a4ea-b714aaf9f105" providerId="ADAL" clId="{A30C9A1E-D251-44DB-9134-1A4999AEBF52}" dt="2026-03-06T15:45:19.842" v="2761"/>
        <pc:sldMkLst>
          <pc:docMk/>
          <pc:sldMk cId="2803217923" sldId="257"/>
        </pc:sldMkLst>
      </pc:sldChg>
      <pc:sldChg chg="setBg">
        <pc:chgData name="MAYCON RIBEIRO BELMIRO" userId="47bef541-8a05-4031-a4ea-b714aaf9f105" providerId="ADAL" clId="{A30C9A1E-D251-44DB-9134-1A4999AEBF52}" dt="2026-03-06T15:45:19.842" v="2761"/>
        <pc:sldMkLst>
          <pc:docMk/>
          <pc:sldMk cId="4138305243" sldId="258"/>
        </pc:sldMkLst>
      </pc:sldChg>
      <pc:sldChg chg="setBg">
        <pc:chgData name="MAYCON RIBEIRO BELMIRO" userId="47bef541-8a05-4031-a4ea-b714aaf9f105" providerId="ADAL" clId="{A30C9A1E-D251-44DB-9134-1A4999AEBF52}" dt="2026-03-06T15:45:19.842" v="2761"/>
        <pc:sldMkLst>
          <pc:docMk/>
          <pc:sldMk cId="3606235386" sldId="259"/>
        </pc:sldMkLst>
      </pc:sldChg>
      <pc:sldChg chg="addSp delSp modSp add mod ord setBg delAnim modShow">
        <pc:chgData name="MAYCON RIBEIRO BELMIRO" userId="47bef541-8a05-4031-a4ea-b714aaf9f105" providerId="ADAL" clId="{A30C9A1E-D251-44DB-9134-1A4999AEBF52}" dt="2026-03-25T15:55:51.446" v="2890" actId="1076"/>
        <pc:sldMkLst>
          <pc:docMk/>
          <pc:sldMk cId="1703729123" sldId="260"/>
        </pc:sldMkLst>
        <pc:picChg chg="mod">
          <ac:chgData name="MAYCON RIBEIRO BELMIRO" userId="47bef541-8a05-4031-a4ea-b714aaf9f105" providerId="ADAL" clId="{A30C9A1E-D251-44DB-9134-1A4999AEBF52}" dt="2026-03-25T15:55:44.200" v="2887" actId="1076"/>
          <ac:picMkLst>
            <pc:docMk/>
            <pc:sldMk cId="1703729123" sldId="260"/>
            <ac:picMk id="3" creationId="{47EA64D2-F059-A2FB-5992-2788FAAC26BC}"/>
          </ac:picMkLst>
        </pc:picChg>
        <pc:picChg chg="add mod ord">
          <ac:chgData name="MAYCON RIBEIRO BELMIRO" userId="47bef541-8a05-4031-a4ea-b714aaf9f105" providerId="ADAL" clId="{A30C9A1E-D251-44DB-9134-1A4999AEBF52}" dt="2026-03-25T15:55:51.446" v="2890" actId="1076"/>
          <ac:picMkLst>
            <pc:docMk/>
            <pc:sldMk cId="1703729123" sldId="260"/>
            <ac:picMk id="4" creationId="{C5EF78D4-4276-1110-EE2E-0B03601BE522}"/>
          </ac:picMkLst>
        </pc:picChg>
        <pc:picChg chg="mod">
          <ac:chgData name="MAYCON RIBEIRO BELMIRO" userId="47bef541-8a05-4031-a4ea-b714aaf9f105" providerId="ADAL" clId="{A30C9A1E-D251-44DB-9134-1A4999AEBF52}" dt="2026-03-25T15:55:49.658" v="2889" actId="1076"/>
          <ac:picMkLst>
            <pc:docMk/>
            <pc:sldMk cId="1703729123" sldId="260"/>
            <ac:picMk id="9" creationId="{4CA070EE-C2A6-FFC7-E043-387DF50014BB}"/>
          </ac:picMkLst>
        </pc:picChg>
      </pc:sldChg>
      <pc:sldChg chg="mod setBg modShow">
        <pc:chgData name="MAYCON RIBEIRO BELMIRO" userId="47bef541-8a05-4031-a4ea-b714aaf9f105" providerId="ADAL" clId="{A30C9A1E-D251-44DB-9134-1A4999AEBF52}" dt="2026-03-31T15:43:12.497" v="2893" actId="729"/>
        <pc:sldMkLst>
          <pc:docMk/>
          <pc:sldMk cId="967546735" sldId="261"/>
        </pc:sldMkLst>
      </pc:sldChg>
      <pc:sldChg chg="setBg">
        <pc:chgData name="MAYCON RIBEIRO BELMIRO" userId="47bef541-8a05-4031-a4ea-b714aaf9f105" providerId="ADAL" clId="{A30C9A1E-D251-44DB-9134-1A4999AEBF52}" dt="2026-03-06T15:45:19.842" v="2761"/>
        <pc:sldMkLst>
          <pc:docMk/>
          <pc:sldMk cId="1721682438" sldId="262"/>
        </pc:sldMkLst>
      </pc:sldChg>
      <pc:sldChg chg="mod setBg modShow">
        <pc:chgData name="MAYCON RIBEIRO BELMIRO" userId="47bef541-8a05-4031-a4ea-b714aaf9f105" providerId="ADAL" clId="{A30C9A1E-D251-44DB-9134-1A4999AEBF52}" dt="2026-03-31T15:43:12.497" v="2893" actId="729"/>
        <pc:sldMkLst>
          <pc:docMk/>
          <pc:sldMk cId="4269403632" sldId="263"/>
        </pc:sldMkLst>
      </pc:sldChg>
      <pc:sldChg chg="setBg">
        <pc:chgData name="MAYCON RIBEIRO BELMIRO" userId="47bef541-8a05-4031-a4ea-b714aaf9f105" providerId="ADAL" clId="{A30C9A1E-D251-44DB-9134-1A4999AEBF52}" dt="2026-03-06T15:45:19.842" v="2761"/>
        <pc:sldMkLst>
          <pc:docMk/>
          <pc:sldMk cId="2562200199" sldId="264"/>
        </pc:sldMkLst>
      </pc:sldChg>
      <pc:sldChg chg="setBg">
        <pc:chgData name="MAYCON RIBEIRO BELMIRO" userId="47bef541-8a05-4031-a4ea-b714aaf9f105" providerId="ADAL" clId="{A30C9A1E-D251-44DB-9134-1A4999AEBF52}" dt="2026-03-06T15:45:19.842" v="2761"/>
        <pc:sldMkLst>
          <pc:docMk/>
          <pc:sldMk cId="423641407" sldId="265"/>
        </pc:sldMkLst>
      </pc:sldChg>
      <pc:sldChg chg="setBg">
        <pc:chgData name="MAYCON RIBEIRO BELMIRO" userId="47bef541-8a05-4031-a4ea-b714aaf9f105" providerId="ADAL" clId="{A30C9A1E-D251-44DB-9134-1A4999AEBF52}" dt="2026-03-06T15:45:19.842" v="2761"/>
        <pc:sldMkLst>
          <pc:docMk/>
          <pc:sldMk cId="1670512083" sldId="266"/>
        </pc:sldMkLst>
      </pc:sldChg>
      <pc:sldChg chg="ord setBg">
        <pc:chgData name="MAYCON RIBEIRO BELMIRO" userId="47bef541-8a05-4031-a4ea-b714aaf9f105" providerId="ADAL" clId="{A30C9A1E-D251-44DB-9134-1A4999AEBF52}" dt="2026-03-06T15:47:40.602" v="2806"/>
        <pc:sldMkLst>
          <pc:docMk/>
          <pc:sldMk cId="1047250646" sldId="267"/>
        </pc:sldMkLst>
      </pc:sldChg>
      <pc:sldChg chg="modSp mod setBg">
        <pc:chgData name="MAYCON RIBEIRO BELMIRO" userId="47bef541-8a05-4031-a4ea-b714aaf9f105" providerId="ADAL" clId="{A30C9A1E-D251-44DB-9134-1A4999AEBF52}" dt="2026-03-06T15:50:08.334" v="2830" actId="403"/>
        <pc:sldMkLst>
          <pc:docMk/>
          <pc:sldMk cId="2117620283" sldId="268"/>
        </pc:sldMkLst>
        <pc:spChg chg="mod">
          <ac:chgData name="MAYCON RIBEIRO BELMIRO" userId="47bef541-8a05-4031-a4ea-b714aaf9f105" providerId="ADAL" clId="{A30C9A1E-D251-44DB-9134-1A4999AEBF52}" dt="2026-03-06T15:50:08.334" v="2830" actId="403"/>
          <ac:spMkLst>
            <pc:docMk/>
            <pc:sldMk cId="2117620283" sldId="268"/>
            <ac:spMk id="2" creationId="{7DDC237E-7071-8C6F-88EB-E94DA0BDACFB}"/>
          </ac:spMkLst>
        </pc:spChg>
        <pc:picChg chg="mod">
          <ac:chgData name="MAYCON RIBEIRO BELMIRO" userId="47bef541-8a05-4031-a4ea-b714aaf9f105" providerId="ADAL" clId="{A30C9A1E-D251-44DB-9134-1A4999AEBF52}" dt="2026-03-06T15:50:03.977" v="2828" actId="1076"/>
          <ac:picMkLst>
            <pc:docMk/>
            <pc:sldMk cId="2117620283" sldId="268"/>
            <ac:picMk id="4" creationId="{4A003732-44A1-6BD0-8DF7-F8C58EAA650E}"/>
          </ac:picMkLst>
        </pc:picChg>
      </pc:sldChg>
      <pc:sldChg chg="setBg">
        <pc:chgData name="MAYCON RIBEIRO BELMIRO" userId="47bef541-8a05-4031-a4ea-b714aaf9f105" providerId="ADAL" clId="{A30C9A1E-D251-44DB-9134-1A4999AEBF52}" dt="2026-03-06T15:45:19.842" v="2761"/>
        <pc:sldMkLst>
          <pc:docMk/>
          <pc:sldMk cId="755314908" sldId="269"/>
        </pc:sldMkLst>
      </pc:sldChg>
      <pc:sldChg chg="setBg">
        <pc:chgData name="MAYCON RIBEIRO BELMIRO" userId="47bef541-8a05-4031-a4ea-b714aaf9f105" providerId="ADAL" clId="{A30C9A1E-D251-44DB-9134-1A4999AEBF52}" dt="2026-03-06T15:45:19.842" v="2761"/>
        <pc:sldMkLst>
          <pc:docMk/>
          <pc:sldMk cId="1352063930" sldId="270"/>
        </pc:sldMkLst>
      </pc:sldChg>
      <pc:sldChg chg="setBg">
        <pc:chgData name="MAYCON RIBEIRO BELMIRO" userId="47bef541-8a05-4031-a4ea-b714aaf9f105" providerId="ADAL" clId="{A30C9A1E-D251-44DB-9134-1A4999AEBF52}" dt="2026-03-06T15:45:19.842" v="2761"/>
        <pc:sldMkLst>
          <pc:docMk/>
          <pc:sldMk cId="495322674" sldId="271"/>
        </pc:sldMkLst>
      </pc:sldChg>
      <pc:sldChg chg="setBg">
        <pc:chgData name="MAYCON RIBEIRO BELMIRO" userId="47bef541-8a05-4031-a4ea-b714aaf9f105" providerId="ADAL" clId="{A30C9A1E-D251-44DB-9134-1A4999AEBF52}" dt="2026-03-06T15:45:19.842" v="2761"/>
        <pc:sldMkLst>
          <pc:docMk/>
          <pc:sldMk cId="4173660959" sldId="272"/>
        </pc:sldMkLst>
      </pc:sldChg>
      <pc:sldChg chg="addSp delSp modSp add mod ord modAnim modShow">
        <pc:chgData name="MAYCON RIBEIRO BELMIRO" userId="47bef541-8a05-4031-a4ea-b714aaf9f105" providerId="ADAL" clId="{A30C9A1E-D251-44DB-9134-1A4999AEBF52}" dt="2026-03-31T17:38:48.127" v="2897" actId="729"/>
        <pc:sldMkLst>
          <pc:docMk/>
          <pc:sldMk cId="4212876693" sldId="273"/>
        </pc:sldMkLst>
        <pc:spChg chg="mod">
          <ac:chgData name="MAYCON RIBEIRO BELMIRO" userId="47bef541-8a05-4031-a4ea-b714aaf9f105" providerId="ADAL" clId="{A30C9A1E-D251-44DB-9134-1A4999AEBF52}" dt="2026-03-06T15:47:25.029" v="2802" actId="20577"/>
          <ac:spMkLst>
            <pc:docMk/>
            <pc:sldMk cId="4212876693" sldId="273"/>
            <ac:spMk id="2" creationId="{C766BD44-8C87-724C-90F5-1E4442F3D348}"/>
          </ac:spMkLst>
        </pc:spChg>
        <pc:picChg chg="add mod">
          <ac:chgData name="MAYCON RIBEIRO BELMIRO" userId="47bef541-8a05-4031-a4ea-b714aaf9f105" providerId="ADAL" clId="{A30C9A1E-D251-44DB-9134-1A4999AEBF52}" dt="2026-03-06T15:46:44.190" v="2773"/>
          <ac:picMkLst>
            <pc:docMk/>
            <pc:sldMk cId="4212876693" sldId="273"/>
            <ac:picMk id="4" creationId="{508D8638-0E83-3789-D8DC-B6F7FE93F38A}"/>
          </ac:picMkLst>
        </pc:picChg>
        <pc:picChg chg="add mod">
          <ac:chgData name="MAYCON RIBEIRO BELMIRO" userId="47bef541-8a05-4031-a4ea-b714aaf9f105" providerId="ADAL" clId="{A30C9A1E-D251-44DB-9134-1A4999AEBF52}" dt="2026-03-06T15:46:44.190" v="2773"/>
          <ac:picMkLst>
            <pc:docMk/>
            <pc:sldMk cId="4212876693" sldId="273"/>
            <ac:picMk id="10" creationId="{9ED0D32C-AE80-CD54-A4E2-7790DE5FB3A0}"/>
          </ac:picMkLst>
        </pc:picChg>
      </pc:sldChg>
      <pc:sldChg chg="addSp delSp modSp add mod modAnim">
        <pc:chgData name="MAYCON RIBEIRO BELMIRO" userId="47bef541-8a05-4031-a4ea-b714aaf9f105" providerId="ADAL" clId="{A30C9A1E-D251-44DB-9134-1A4999AEBF52}" dt="2026-03-06T15:49:54.532" v="2826" actId="1076"/>
        <pc:sldMkLst>
          <pc:docMk/>
          <pc:sldMk cId="109251485" sldId="274"/>
        </pc:sldMkLst>
        <pc:spChg chg="add mod">
          <ac:chgData name="MAYCON RIBEIRO BELMIRO" userId="47bef541-8a05-4031-a4ea-b714aaf9f105" providerId="ADAL" clId="{A30C9A1E-D251-44DB-9134-1A4999AEBF52}" dt="2026-03-06T15:49:51.498" v="2825" actId="403"/>
          <ac:spMkLst>
            <pc:docMk/>
            <pc:sldMk cId="109251485" sldId="274"/>
            <ac:spMk id="5" creationId="{B033342A-C833-318A-54BE-4041B4D82BC3}"/>
          </ac:spMkLst>
        </pc:spChg>
        <pc:spChg chg="add mod">
          <ac:chgData name="MAYCON RIBEIRO BELMIRO" userId="47bef541-8a05-4031-a4ea-b714aaf9f105" providerId="ADAL" clId="{A30C9A1E-D251-44DB-9134-1A4999AEBF52}" dt="2026-03-06T15:49:32.977" v="2821" actId="403"/>
          <ac:spMkLst>
            <pc:docMk/>
            <pc:sldMk cId="109251485" sldId="274"/>
            <ac:spMk id="6" creationId="{F5AEBA99-1BB8-77AB-1CBA-8B2289801DDB}"/>
          </ac:spMkLst>
        </pc:spChg>
        <pc:spChg chg="add mod">
          <ac:chgData name="MAYCON RIBEIRO BELMIRO" userId="47bef541-8a05-4031-a4ea-b714aaf9f105" providerId="ADAL" clId="{A30C9A1E-D251-44DB-9134-1A4999AEBF52}" dt="2026-03-06T15:49:37.895" v="2822" actId="403"/>
          <ac:spMkLst>
            <pc:docMk/>
            <pc:sldMk cId="109251485" sldId="274"/>
            <ac:spMk id="7" creationId="{1C41EF9C-C87A-E6C1-A9BF-6A49FFD40D7D}"/>
          </ac:spMkLst>
        </pc:spChg>
        <pc:spChg chg="add mod">
          <ac:chgData name="MAYCON RIBEIRO BELMIRO" userId="47bef541-8a05-4031-a4ea-b714aaf9f105" providerId="ADAL" clId="{A30C9A1E-D251-44DB-9134-1A4999AEBF52}" dt="2026-03-06T15:49:18.114" v="2819" actId="2711"/>
          <ac:spMkLst>
            <pc:docMk/>
            <pc:sldMk cId="109251485" sldId="274"/>
            <ac:spMk id="8" creationId="{FF62B2E1-1437-4C1E-1893-C6E022D63CF9}"/>
          </ac:spMkLst>
        </pc:spChg>
        <pc:picChg chg="mod">
          <ac:chgData name="MAYCON RIBEIRO BELMIRO" userId="47bef541-8a05-4031-a4ea-b714aaf9f105" providerId="ADAL" clId="{A30C9A1E-D251-44DB-9134-1A4999AEBF52}" dt="2026-03-06T15:49:18.114" v="2819" actId="2711"/>
          <ac:picMkLst>
            <pc:docMk/>
            <pc:sldMk cId="109251485" sldId="274"/>
            <ac:picMk id="3" creationId="{D98785ED-239D-2814-A744-C265E656AB4A}"/>
          </ac:picMkLst>
        </pc:picChg>
        <pc:picChg chg="add mod">
          <ac:chgData name="MAYCON RIBEIRO BELMIRO" userId="47bef541-8a05-4031-a4ea-b714aaf9f105" providerId="ADAL" clId="{A30C9A1E-D251-44DB-9134-1A4999AEBF52}" dt="2026-03-06T15:49:54.532" v="2826" actId="1076"/>
          <ac:picMkLst>
            <pc:docMk/>
            <pc:sldMk cId="109251485" sldId="274"/>
            <ac:picMk id="4" creationId="{D63369D6-3980-A0A4-F282-4CBAA6B94724}"/>
          </ac:picMkLst>
        </pc:picChg>
        <pc:picChg chg="mod">
          <ac:chgData name="MAYCON RIBEIRO BELMIRO" userId="47bef541-8a05-4031-a4ea-b714aaf9f105" providerId="ADAL" clId="{A30C9A1E-D251-44DB-9134-1A4999AEBF52}" dt="2026-03-06T15:49:18.114" v="2819" actId="2711"/>
          <ac:picMkLst>
            <pc:docMk/>
            <pc:sldMk cId="109251485" sldId="274"/>
            <ac:picMk id="20" creationId="{2DF8C502-3914-AD49-AA91-8265B47B90E6}"/>
          </ac:picMkLst>
        </pc:picChg>
        <pc:picChg chg="mod">
          <ac:chgData name="MAYCON RIBEIRO BELMIRO" userId="47bef541-8a05-4031-a4ea-b714aaf9f105" providerId="ADAL" clId="{A30C9A1E-D251-44DB-9134-1A4999AEBF52}" dt="2026-03-06T15:49:18.114" v="2819" actId="2711"/>
          <ac:picMkLst>
            <pc:docMk/>
            <pc:sldMk cId="109251485" sldId="274"/>
            <ac:picMk id="1026" creationId="{479394F6-F5AD-481C-BF81-7B4203E42179}"/>
          </ac:picMkLst>
        </pc:picChg>
      </pc:sldChg>
      <pc:sldChg chg="delSp modSp add mod">
        <pc:chgData name="MAYCON RIBEIRO BELMIRO" userId="47bef541-8a05-4031-a4ea-b714aaf9f105" providerId="ADAL" clId="{A30C9A1E-D251-44DB-9134-1A4999AEBF52}" dt="2026-03-25T15:55:24.278" v="2879" actId="1076"/>
        <pc:sldMkLst>
          <pc:docMk/>
          <pc:sldMk cId="3227374609" sldId="275"/>
        </pc:sldMkLst>
        <pc:picChg chg="mod ord">
          <ac:chgData name="MAYCON RIBEIRO BELMIRO" userId="47bef541-8a05-4031-a4ea-b714aaf9f105" providerId="ADAL" clId="{A30C9A1E-D251-44DB-9134-1A4999AEBF52}" dt="2026-03-25T15:55:24.278" v="2879" actId="1076"/>
          <ac:picMkLst>
            <pc:docMk/>
            <pc:sldMk cId="3227374609" sldId="275"/>
            <ac:picMk id="7" creationId="{3E540CB7-A821-3F65-5927-87E41BF66E70}"/>
          </ac:picMkLst>
        </pc:picChg>
        <pc:picChg chg="mod">
          <ac:chgData name="MAYCON RIBEIRO BELMIRO" userId="47bef541-8a05-4031-a4ea-b714aaf9f105" providerId="ADAL" clId="{A30C9A1E-D251-44DB-9134-1A4999AEBF52}" dt="2026-03-25T15:55:17.632" v="2877" actId="14100"/>
          <ac:picMkLst>
            <pc:docMk/>
            <pc:sldMk cId="3227374609" sldId="275"/>
            <ac:picMk id="9" creationId="{C072DF73-F8C5-8581-DA74-ABFDCD199EEF}"/>
          </ac:picMkLst>
        </pc:picChg>
      </pc:sldChg>
      <pc:sldChg chg="addSp delSp modSp add mod">
        <pc:chgData name="MAYCON RIBEIRO BELMIRO" userId="47bef541-8a05-4031-a4ea-b714aaf9f105" providerId="ADAL" clId="{A30C9A1E-D251-44DB-9134-1A4999AEBF52}" dt="2026-03-25T15:54:39.762" v="2862" actId="1076"/>
        <pc:sldMkLst>
          <pc:docMk/>
          <pc:sldMk cId="2657247531" sldId="276"/>
        </pc:sldMkLst>
        <pc:picChg chg="add mod ord">
          <ac:chgData name="MAYCON RIBEIRO BELMIRO" userId="47bef541-8a05-4031-a4ea-b714aaf9f105" providerId="ADAL" clId="{A30C9A1E-D251-44DB-9134-1A4999AEBF52}" dt="2026-03-25T15:54:37.542" v="2861" actId="1076"/>
          <ac:picMkLst>
            <pc:docMk/>
            <pc:sldMk cId="2657247531" sldId="276"/>
            <ac:picMk id="5" creationId="{FAD46012-4746-3DD2-2DA0-FBD388C87CDC}"/>
          </ac:picMkLst>
        </pc:picChg>
        <pc:picChg chg="mod">
          <ac:chgData name="MAYCON RIBEIRO BELMIRO" userId="47bef541-8a05-4031-a4ea-b714aaf9f105" providerId="ADAL" clId="{A30C9A1E-D251-44DB-9134-1A4999AEBF52}" dt="2026-03-25T15:54:39.762" v="2862" actId="1076"/>
          <ac:picMkLst>
            <pc:docMk/>
            <pc:sldMk cId="2657247531" sldId="276"/>
            <ac:picMk id="9" creationId="{5F625327-D48B-DCE4-D858-EC65ECFEC707}"/>
          </ac:picMkLst>
        </pc:picChg>
      </pc:sldChg>
      <pc:sldChg chg="new del">
        <pc:chgData name="MAYCON RIBEIRO BELMIRO" userId="47bef541-8a05-4031-a4ea-b714aaf9f105" providerId="ADAL" clId="{A30C9A1E-D251-44DB-9134-1A4999AEBF52}" dt="2026-03-31T15:11:10.651" v="2892" actId="47"/>
        <pc:sldMkLst>
          <pc:docMk/>
          <pc:sldMk cId="3976649698" sldId="277"/>
        </pc:sldMkLst>
      </pc:sldChg>
      <pc:sldChg chg="setBg">
        <pc:chgData name="MAYCON RIBEIRO BELMIRO" userId="47bef541-8a05-4031-a4ea-b714aaf9f105" providerId="ADAL" clId="{A30C9A1E-D251-44DB-9134-1A4999AEBF52}" dt="2026-03-06T15:45:19.842" v="2761"/>
        <pc:sldMkLst>
          <pc:docMk/>
          <pc:sldMk cId="2857001710" sldId="2147483600"/>
        </pc:sldMkLst>
      </pc:sldChg>
      <pc:sldChg chg="mod setBg modShow">
        <pc:chgData name="MAYCON RIBEIRO BELMIRO" userId="47bef541-8a05-4031-a4ea-b714aaf9f105" providerId="ADAL" clId="{A30C9A1E-D251-44DB-9134-1A4999AEBF52}" dt="2026-03-31T15:43:12.497" v="2893" actId="729"/>
        <pc:sldMkLst>
          <pc:docMk/>
          <pc:sldMk cId="3792899473" sldId="2147483601"/>
        </pc:sldMkLst>
      </pc:sldChg>
      <pc:sldChg chg="mod setBg modShow">
        <pc:chgData name="MAYCON RIBEIRO BELMIRO" userId="47bef541-8a05-4031-a4ea-b714aaf9f105" providerId="ADAL" clId="{A30C9A1E-D251-44DB-9134-1A4999AEBF52}" dt="2026-03-31T15:43:12.497" v="2893" actId="729"/>
        <pc:sldMkLst>
          <pc:docMk/>
          <pc:sldMk cId="1181195714" sldId="2147483602"/>
        </pc:sldMkLst>
      </pc:sldChg>
      <pc:sldChg chg="mod setBg modShow">
        <pc:chgData name="MAYCON RIBEIRO BELMIRO" userId="47bef541-8a05-4031-a4ea-b714aaf9f105" providerId="ADAL" clId="{A30C9A1E-D251-44DB-9134-1A4999AEBF52}" dt="2026-03-31T15:43:12.497" v="2893" actId="729"/>
        <pc:sldMkLst>
          <pc:docMk/>
          <pc:sldMk cId="4116918804" sldId="2147483603"/>
        </pc:sldMkLst>
      </pc:sldChg>
      <pc:sldChg chg="mod setBg modShow">
        <pc:chgData name="MAYCON RIBEIRO BELMIRO" userId="47bef541-8a05-4031-a4ea-b714aaf9f105" providerId="ADAL" clId="{A30C9A1E-D251-44DB-9134-1A4999AEBF52}" dt="2026-03-31T15:43:12.497" v="2893" actId="729"/>
        <pc:sldMkLst>
          <pc:docMk/>
          <pc:sldMk cId="653771261" sldId="2147483604"/>
        </pc:sldMkLst>
      </pc:sldChg>
      <pc:sldChg chg="mod setBg modShow">
        <pc:chgData name="MAYCON RIBEIRO BELMIRO" userId="47bef541-8a05-4031-a4ea-b714aaf9f105" providerId="ADAL" clId="{A30C9A1E-D251-44DB-9134-1A4999AEBF52}" dt="2026-03-31T15:43:12.497" v="2893" actId="729"/>
        <pc:sldMkLst>
          <pc:docMk/>
          <pc:sldMk cId="4097497501" sldId="2147483605"/>
        </pc:sldMkLst>
      </pc:sldChg>
      <pc:sldChg chg="mod setBg modShow">
        <pc:chgData name="MAYCON RIBEIRO BELMIRO" userId="47bef541-8a05-4031-a4ea-b714aaf9f105" providerId="ADAL" clId="{A30C9A1E-D251-44DB-9134-1A4999AEBF52}" dt="2026-03-31T15:43:12.497" v="2893" actId="729"/>
        <pc:sldMkLst>
          <pc:docMk/>
          <pc:sldMk cId="3772952798" sldId="2147483606"/>
        </pc:sldMkLst>
      </pc:sldChg>
      <pc:sldChg chg="mod setBg modShow">
        <pc:chgData name="MAYCON RIBEIRO BELMIRO" userId="47bef541-8a05-4031-a4ea-b714aaf9f105" providerId="ADAL" clId="{A30C9A1E-D251-44DB-9134-1A4999AEBF52}" dt="2026-03-31T15:43:12.497" v="2893" actId="729"/>
        <pc:sldMkLst>
          <pc:docMk/>
          <pc:sldMk cId="3085857490" sldId="2147483607"/>
        </pc:sldMkLst>
      </pc:sldChg>
      <pc:sldChg chg="mod setBg modShow">
        <pc:chgData name="MAYCON RIBEIRO BELMIRO" userId="47bef541-8a05-4031-a4ea-b714aaf9f105" providerId="ADAL" clId="{A30C9A1E-D251-44DB-9134-1A4999AEBF52}" dt="2026-03-31T15:43:12.497" v="2893" actId="729"/>
        <pc:sldMkLst>
          <pc:docMk/>
          <pc:sldMk cId="873467165" sldId="2147483608"/>
        </pc:sldMkLst>
      </pc:sldChg>
      <pc:sldChg chg="mod setBg modShow">
        <pc:chgData name="MAYCON RIBEIRO BELMIRO" userId="47bef541-8a05-4031-a4ea-b714aaf9f105" providerId="ADAL" clId="{A30C9A1E-D251-44DB-9134-1A4999AEBF52}" dt="2026-03-31T15:43:12.497" v="2893" actId="729"/>
        <pc:sldMkLst>
          <pc:docMk/>
          <pc:sldMk cId="2310726991" sldId="2147483609"/>
        </pc:sldMkLst>
      </pc:sldChg>
      <pc:sldChg chg="setBg">
        <pc:chgData name="MAYCON RIBEIRO BELMIRO" userId="47bef541-8a05-4031-a4ea-b714aaf9f105" providerId="ADAL" clId="{A30C9A1E-D251-44DB-9134-1A4999AEBF52}" dt="2026-03-06T15:45:19.842" v="2761"/>
        <pc:sldMkLst>
          <pc:docMk/>
          <pc:sldMk cId="3358947910" sldId="2147483610"/>
        </pc:sldMkLst>
      </pc:sldChg>
      <pc:sldChg chg="setBg">
        <pc:chgData name="MAYCON RIBEIRO BELMIRO" userId="47bef541-8a05-4031-a4ea-b714aaf9f105" providerId="ADAL" clId="{A30C9A1E-D251-44DB-9134-1A4999AEBF52}" dt="2026-03-06T15:45:19.842" v="2761"/>
        <pc:sldMkLst>
          <pc:docMk/>
          <pc:sldMk cId="802574664" sldId="2147483611"/>
        </pc:sldMkLst>
      </pc:sldChg>
      <pc:sldChg chg="setBg">
        <pc:chgData name="MAYCON RIBEIRO BELMIRO" userId="47bef541-8a05-4031-a4ea-b714aaf9f105" providerId="ADAL" clId="{A30C9A1E-D251-44DB-9134-1A4999AEBF52}" dt="2026-03-06T15:45:19.842" v="2761"/>
        <pc:sldMkLst>
          <pc:docMk/>
          <pc:sldMk cId="644813763" sldId="2147483612"/>
        </pc:sldMkLst>
      </pc:sldChg>
      <pc:sldChg chg="setBg">
        <pc:chgData name="MAYCON RIBEIRO BELMIRO" userId="47bef541-8a05-4031-a4ea-b714aaf9f105" providerId="ADAL" clId="{A30C9A1E-D251-44DB-9134-1A4999AEBF52}" dt="2026-03-06T15:45:19.842" v="2761"/>
        <pc:sldMkLst>
          <pc:docMk/>
          <pc:sldMk cId="3876690689" sldId="2147483613"/>
        </pc:sldMkLst>
      </pc:sldChg>
      <pc:sldChg chg="setBg">
        <pc:chgData name="MAYCON RIBEIRO BELMIRO" userId="47bef541-8a05-4031-a4ea-b714aaf9f105" providerId="ADAL" clId="{A30C9A1E-D251-44DB-9134-1A4999AEBF52}" dt="2026-03-06T15:45:19.842" v="2761"/>
        <pc:sldMkLst>
          <pc:docMk/>
          <pc:sldMk cId="679727399" sldId="2147483614"/>
        </pc:sldMkLst>
      </pc:sldChg>
      <pc:sldChg chg="setBg">
        <pc:chgData name="MAYCON RIBEIRO BELMIRO" userId="47bef541-8a05-4031-a4ea-b714aaf9f105" providerId="ADAL" clId="{A30C9A1E-D251-44DB-9134-1A4999AEBF52}" dt="2026-03-06T15:45:19.842" v="2761"/>
        <pc:sldMkLst>
          <pc:docMk/>
          <pc:sldMk cId="1211815288" sldId="2147483615"/>
        </pc:sldMkLst>
      </pc:sldChg>
      <pc:sldChg chg="setBg">
        <pc:chgData name="MAYCON RIBEIRO BELMIRO" userId="47bef541-8a05-4031-a4ea-b714aaf9f105" providerId="ADAL" clId="{A30C9A1E-D251-44DB-9134-1A4999AEBF52}" dt="2026-03-06T15:45:19.842" v="2761"/>
        <pc:sldMkLst>
          <pc:docMk/>
          <pc:sldMk cId="3029074521" sldId="2147483616"/>
        </pc:sldMkLst>
      </pc:sldChg>
      <pc:sldChg chg="setBg">
        <pc:chgData name="MAYCON RIBEIRO BELMIRO" userId="47bef541-8a05-4031-a4ea-b714aaf9f105" providerId="ADAL" clId="{A30C9A1E-D251-44DB-9134-1A4999AEBF52}" dt="2026-03-06T15:45:19.842" v="2761"/>
        <pc:sldMkLst>
          <pc:docMk/>
          <pc:sldMk cId="97042308" sldId="2147483617"/>
        </pc:sldMkLst>
      </pc:sldChg>
      <pc:sldChg chg="setBg">
        <pc:chgData name="MAYCON RIBEIRO BELMIRO" userId="47bef541-8a05-4031-a4ea-b714aaf9f105" providerId="ADAL" clId="{A30C9A1E-D251-44DB-9134-1A4999AEBF52}" dt="2026-03-06T15:45:19.842" v="2761"/>
        <pc:sldMkLst>
          <pc:docMk/>
          <pc:sldMk cId="1357020725" sldId="2147483619"/>
        </pc:sldMkLst>
      </pc:sldChg>
      <pc:sldChg chg="setBg">
        <pc:chgData name="MAYCON RIBEIRO BELMIRO" userId="47bef541-8a05-4031-a4ea-b714aaf9f105" providerId="ADAL" clId="{A30C9A1E-D251-44DB-9134-1A4999AEBF52}" dt="2026-03-06T15:45:19.842" v="2761"/>
        <pc:sldMkLst>
          <pc:docMk/>
          <pc:sldMk cId="686628184" sldId="2147483620"/>
        </pc:sldMkLst>
      </pc:sldChg>
      <pc:sldChg chg="setBg">
        <pc:chgData name="MAYCON RIBEIRO BELMIRO" userId="47bef541-8a05-4031-a4ea-b714aaf9f105" providerId="ADAL" clId="{A30C9A1E-D251-44DB-9134-1A4999AEBF52}" dt="2026-03-06T15:45:19.842" v="2761"/>
        <pc:sldMkLst>
          <pc:docMk/>
          <pc:sldMk cId="1980771772" sldId="2147483621"/>
        </pc:sldMkLst>
      </pc:sldChg>
      <pc:sldChg chg="setBg">
        <pc:chgData name="MAYCON RIBEIRO BELMIRO" userId="47bef541-8a05-4031-a4ea-b714aaf9f105" providerId="ADAL" clId="{A30C9A1E-D251-44DB-9134-1A4999AEBF52}" dt="2026-03-06T15:45:19.842" v="2761"/>
        <pc:sldMkLst>
          <pc:docMk/>
          <pc:sldMk cId="3986677107" sldId="2147483622"/>
        </pc:sldMkLst>
      </pc:sldChg>
      <pc:sldChg chg="setBg">
        <pc:chgData name="MAYCON RIBEIRO BELMIRO" userId="47bef541-8a05-4031-a4ea-b714aaf9f105" providerId="ADAL" clId="{A30C9A1E-D251-44DB-9134-1A4999AEBF52}" dt="2026-03-06T15:45:19.842" v="2761"/>
        <pc:sldMkLst>
          <pc:docMk/>
          <pc:sldMk cId="1506580730" sldId="2147483623"/>
        </pc:sldMkLst>
      </pc:sldChg>
      <pc:sldChg chg="setBg">
        <pc:chgData name="MAYCON RIBEIRO BELMIRO" userId="47bef541-8a05-4031-a4ea-b714aaf9f105" providerId="ADAL" clId="{A30C9A1E-D251-44DB-9134-1A4999AEBF52}" dt="2026-03-06T15:45:19.842" v="2761"/>
        <pc:sldMkLst>
          <pc:docMk/>
          <pc:sldMk cId="3273419049" sldId="2147483624"/>
        </pc:sldMkLst>
      </pc:sldChg>
      <pc:sldChg chg="setBg">
        <pc:chgData name="MAYCON RIBEIRO BELMIRO" userId="47bef541-8a05-4031-a4ea-b714aaf9f105" providerId="ADAL" clId="{A30C9A1E-D251-44DB-9134-1A4999AEBF52}" dt="2026-03-06T15:45:19.842" v="2761"/>
        <pc:sldMkLst>
          <pc:docMk/>
          <pc:sldMk cId="2435260937" sldId="2147483625"/>
        </pc:sldMkLst>
      </pc:sldChg>
      <pc:sldChg chg="setBg">
        <pc:chgData name="MAYCON RIBEIRO BELMIRO" userId="47bef541-8a05-4031-a4ea-b714aaf9f105" providerId="ADAL" clId="{A30C9A1E-D251-44DB-9134-1A4999AEBF52}" dt="2026-03-06T15:45:19.842" v="2761"/>
        <pc:sldMkLst>
          <pc:docMk/>
          <pc:sldMk cId="90199597" sldId="2147483626"/>
        </pc:sldMkLst>
      </pc:sldChg>
      <pc:sldChg chg="setBg">
        <pc:chgData name="MAYCON RIBEIRO BELMIRO" userId="47bef541-8a05-4031-a4ea-b714aaf9f105" providerId="ADAL" clId="{A30C9A1E-D251-44DB-9134-1A4999AEBF52}" dt="2026-03-06T15:45:19.842" v="2761"/>
        <pc:sldMkLst>
          <pc:docMk/>
          <pc:sldMk cId="1665499595" sldId="2147483627"/>
        </pc:sldMkLst>
      </pc:sldChg>
      <pc:sldChg chg="setBg">
        <pc:chgData name="MAYCON RIBEIRO BELMIRO" userId="47bef541-8a05-4031-a4ea-b714aaf9f105" providerId="ADAL" clId="{A30C9A1E-D251-44DB-9134-1A4999AEBF52}" dt="2026-03-06T15:45:19.842" v="2761"/>
        <pc:sldMkLst>
          <pc:docMk/>
          <pc:sldMk cId="2866748673" sldId="2147483628"/>
        </pc:sldMkLst>
      </pc:sldChg>
      <pc:sldChg chg="setBg">
        <pc:chgData name="MAYCON RIBEIRO BELMIRO" userId="47bef541-8a05-4031-a4ea-b714aaf9f105" providerId="ADAL" clId="{A30C9A1E-D251-44DB-9134-1A4999AEBF52}" dt="2026-03-06T15:45:19.842" v="2761"/>
        <pc:sldMkLst>
          <pc:docMk/>
          <pc:sldMk cId="1244546903" sldId="2147483629"/>
        </pc:sldMkLst>
      </pc:sldChg>
      <pc:sldChg chg="setBg">
        <pc:chgData name="MAYCON RIBEIRO BELMIRO" userId="47bef541-8a05-4031-a4ea-b714aaf9f105" providerId="ADAL" clId="{A30C9A1E-D251-44DB-9134-1A4999AEBF52}" dt="2026-03-06T15:45:19.842" v="2761"/>
        <pc:sldMkLst>
          <pc:docMk/>
          <pc:sldMk cId="1744072889" sldId="2147483630"/>
        </pc:sldMkLst>
      </pc:sldChg>
      <pc:sldChg chg="setBg">
        <pc:chgData name="MAYCON RIBEIRO BELMIRO" userId="47bef541-8a05-4031-a4ea-b714aaf9f105" providerId="ADAL" clId="{A30C9A1E-D251-44DB-9134-1A4999AEBF52}" dt="2026-03-06T15:45:19.842" v="2761"/>
        <pc:sldMkLst>
          <pc:docMk/>
          <pc:sldMk cId="2328370487" sldId="2147483631"/>
        </pc:sldMkLst>
      </pc:sldChg>
      <pc:sldChg chg="setBg">
        <pc:chgData name="MAYCON RIBEIRO BELMIRO" userId="47bef541-8a05-4031-a4ea-b714aaf9f105" providerId="ADAL" clId="{A30C9A1E-D251-44DB-9134-1A4999AEBF52}" dt="2026-03-06T15:45:19.842" v="2761"/>
        <pc:sldMkLst>
          <pc:docMk/>
          <pc:sldMk cId="4178043233" sldId="2147483632"/>
        </pc:sldMkLst>
      </pc:sldChg>
      <pc:sldChg chg="setBg">
        <pc:chgData name="MAYCON RIBEIRO BELMIRO" userId="47bef541-8a05-4031-a4ea-b714aaf9f105" providerId="ADAL" clId="{A30C9A1E-D251-44DB-9134-1A4999AEBF52}" dt="2026-03-06T15:45:19.842" v="2761"/>
        <pc:sldMkLst>
          <pc:docMk/>
          <pc:sldMk cId="1947417457" sldId="2147483633"/>
        </pc:sldMkLst>
      </pc:sldChg>
      <pc:sldChg chg="setBg">
        <pc:chgData name="MAYCON RIBEIRO BELMIRO" userId="47bef541-8a05-4031-a4ea-b714aaf9f105" providerId="ADAL" clId="{A30C9A1E-D251-44DB-9134-1A4999AEBF52}" dt="2026-03-06T15:45:19.842" v="2761"/>
        <pc:sldMkLst>
          <pc:docMk/>
          <pc:sldMk cId="2282233735" sldId="2147483634"/>
        </pc:sldMkLst>
      </pc:sldChg>
      <pc:sldChg chg="setBg">
        <pc:chgData name="MAYCON RIBEIRO BELMIRO" userId="47bef541-8a05-4031-a4ea-b714aaf9f105" providerId="ADAL" clId="{A30C9A1E-D251-44DB-9134-1A4999AEBF52}" dt="2026-03-06T15:45:19.842" v="2761"/>
        <pc:sldMkLst>
          <pc:docMk/>
          <pc:sldMk cId="244907545" sldId="2147483635"/>
        </pc:sldMkLst>
      </pc:sldChg>
      <pc:sldChg chg="setBg">
        <pc:chgData name="MAYCON RIBEIRO BELMIRO" userId="47bef541-8a05-4031-a4ea-b714aaf9f105" providerId="ADAL" clId="{A30C9A1E-D251-44DB-9134-1A4999AEBF52}" dt="2026-03-06T15:45:19.842" v="2761"/>
        <pc:sldMkLst>
          <pc:docMk/>
          <pc:sldMk cId="2681864993" sldId="2147483636"/>
        </pc:sldMkLst>
      </pc:sldChg>
      <pc:sldChg chg="setBg">
        <pc:chgData name="MAYCON RIBEIRO BELMIRO" userId="47bef541-8a05-4031-a4ea-b714aaf9f105" providerId="ADAL" clId="{A30C9A1E-D251-44DB-9134-1A4999AEBF52}" dt="2026-03-06T15:45:19.842" v="2761"/>
        <pc:sldMkLst>
          <pc:docMk/>
          <pc:sldMk cId="1132582" sldId="2147483637"/>
        </pc:sldMkLst>
      </pc:sldChg>
      <pc:sldChg chg="setBg">
        <pc:chgData name="MAYCON RIBEIRO BELMIRO" userId="47bef541-8a05-4031-a4ea-b714aaf9f105" providerId="ADAL" clId="{A30C9A1E-D251-44DB-9134-1A4999AEBF52}" dt="2026-03-06T15:45:19.842" v="2761"/>
        <pc:sldMkLst>
          <pc:docMk/>
          <pc:sldMk cId="3014667822" sldId="2147483638"/>
        </pc:sldMkLst>
      </pc:sldChg>
      <pc:sldChg chg="setBg">
        <pc:chgData name="MAYCON RIBEIRO BELMIRO" userId="47bef541-8a05-4031-a4ea-b714aaf9f105" providerId="ADAL" clId="{A30C9A1E-D251-44DB-9134-1A4999AEBF52}" dt="2026-03-06T15:45:19.842" v="2761"/>
        <pc:sldMkLst>
          <pc:docMk/>
          <pc:sldMk cId="83706286" sldId="2147483639"/>
        </pc:sldMkLst>
      </pc:sldChg>
      <pc:sldChg chg="setBg">
        <pc:chgData name="MAYCON RIBEIRO BELMIRO" userId="47bef541-8a05-4031-a4ea-b714aaf9f105" providerId="ADAL" clId="{A30C9A1E-D251-44DB-9134-1A4999AEBF52}" dt="2026-03-06T15:45:19.842" v="2761"/>
        <pc:sldMkLst>
          <pc:docMk/>
          <pc:sldMk cId="1407409057" sldId="2147483640"/>
        </pc:sldMkLst>
      </pc:sldChg>
      <pc:sldChg chg="setBg">
        <pc:chgData name="MAYCON RIBEIRO BELMIRO" userId="47bef541-8a05-4031-a4ea-b714aaf9f105" providerId="ADAL" clId="{A30C9A1E-D251-44DB-9134-1A4999AEBF52}" dt="2026-03-06T15:45:19.842" v="2761"/>
        <pc:sldMkLst>
          <pc:docMk/>
          <pc:sldMk cId="107924128" sldId="2147483641"/>
        </pc:sldMkLst>
      </pc:sldChg>
      <pc:sldChg chg="mod setBg modShow">
        <pc:chgData name="MAYCON RIBEIRO BELMIRO" userId="47bef541-8a05-4031-a4ea-b714aaf9f105" providerId="ADAL" clId="{A30C9A1E-D251-44DB-9134-1A4999AEBF52}" dt="2026-03-31T17:38:55.394" v="2899" actId="729"/>
        <pc:sldMkLst>
          <pc:docMk/>
          <pc:sldMk cId="1652786834" sldId="2147483642"/>
        </pc:sldMkLst>
      </pc:sldChg>
      <pc:sldChg chg="setBg">
        <pc:chgData name="MAYCON RIBEIRO BELMIRO" userId="47bef541-8a05-4031-a4ea-b714aaf9f105" providerId="ADAL" clId="{A30C9A1E-D251-44DB-9134-1A4999AEBF52}" dt="2026-03-06T15:45:19.842" v="2761"/>
        <pc:sldMkLst>
          <pc:docMk/>
          <pc:sldMk cId="549440478" sldId="2147483643"/>
        </pc:sldMkLst>
      </pc:sldChg>
      <pc:sldChg chg="mod setBg modShow">
        <pc:chgData name="MAYCON RIBEIRO BELMIRO" userId="47bef541-8a05-4031-a4ea-b714aaf9f105" providerId="ADAL" clId="{A30C9A1E-D251-44DB-9134-1A4999AEBF52}" dt="2026-03-31T17:38:51.428" v="2898" actId="729"/>
        <pc:sldMkLst>
          <pc:docMk/>
          <pc:sldMk cId="503162528" sldId="2147483644"/>
        </pc:sldMkLst>
      </pc:sldChg>
      <pc:sldChg chg="addSp delSp modSp mod setBg">
        <pc:chgData name="MAYCON RIBEIRO BELMIRO" userId="47bef541-8a05-4031-a4ea-b714aaf9f105" providerId="ADAL" clId="{A30C9A1E-D251-44DB-9134-1A4999AEBF52}" dt="2026-03-06T18:33:29.257" v="2835" actId="14100"/>
        <pc:sldMkLst>
          <pc:docMk/>
          <pc:sldMk cId="3956970802" sldId="2147483645"/>
        </pc:sldMkLst>
        <pc:picChg chg="add mod">
          <ac:chgData name="MAYCON RIBEIRO BELMIRO" userId="47bef541-8a05-4031-a4ea-b714aaf9f105" providerId="ADAL" clId="{A30C9A1E-D251-44DB-9134-1A4999AEBF52}" dt="2026-03-06T18:33:29.257" v="2835" actId="14100"/>
          <ac:picMkLst>
            <pc:docMk/>
            <pc:sldMk cId="3956970802" sldId="2147483645"/>
            <ac:picMk id="10" creationId="{31CBEFCB-9DB8-A862-C2C0-DDA3992C331F}"/>
          </ac:picMkLst>
        </pc:picChg>
      </pc:sldChg>
      <pc:sldChg chg="setBg">
        <pc:chgData name="MAYCON RIBEIRO BELMIRO" userId="47bef541-8a05-4031-a4ea-b714aaf9f105" providerId="ADAL" clId="{A30C9A1E-D251-44DB-9134-1A4999AEBF52}" dt="2026-03-06T15:45:19.842" v="2761"/>
        <pc:sldMkLst>
          <pc:docMk/>
          <pc:sldMk cId="1357624498" sldId="2147483646"/>
        </pc:sldMkLst>
      </pc:sldChg>
      <pc:sldChg chg="mod setBg modShow">
        <pc:chgData name="MAYCON RIBEIRO BELMIRO" userId="47bef541-8a05-4031-a4ea-b714aaf9f105" providerId="ADAL" clId="{A30C9A1E-D251-44DB-9134-1A4999AEBF52}" dt="2026-03-06T15:45:19.842" v="2761"/>
        <pc:sldMkLst>
          <pc:docMk/>
          <pc:sldMk cId="8805577" sldId="2147483647"/>
        </pc:sldMkLst>
      </pc:sldChg>
      <pc:sldMasterChg chg="setBg modSldLayout">
        <pc:chgData name="MAYCON RIBEIRO BELMIRO" userId="47bef541-8a05-4031-a4ea-b714aaf9f105" providerId="ADAL" clId="{A30C9A1E-D251-44DB-9134-1A4999AEBF52}" dt="2026-03-06T15:45:19.842" v="2761"/>
        <pc:sldMasterMkLst>
          <pc:docMk/>
          <pc:sldMasterMk cId="2453179225" sldId="2147483648"/>
        </pc:sldMasterMkLst>
        <pc:sldLayoutChg chg="setBg">
          <pc:chgData name="MAYCON RIBEIRO BELMIRO" userId="47bef541-8a05-4031-a4ea-b714aaf9f105" providerId="ADAL" clId="{A30C9A1E-D251-44DB-9134-1A4999AEBF52}" dt="2026-03-06T15:45:19.842" v="2761"/>
          <pc:sldLayoutMkLst>
            <pc:docMk/>
            <pc:sldMasterMk cId="2453179225" sldId="2147483648"/>
            <pc:sldLayoutMk cId="2904297236" sldId="2147483649"/>
          </pc:sldLayoutMkLst>
        </pc:sldLayoutChg>
        <pc:sldLayoutChg chg="setBg">
          <pc:chgData name="MAYCON RIBEIRO BELMIRO" userId="47bef541-8a05-4031-a4ea-b714aaf9f105" providerId="ADAL" clId="{A30C9A1E-D251-44DB-9134-1A4999AEBF52}" dt="2026-03-06T15:45:19.842" v="2761"/>
          <pc:sldLayoutMkLst>
            <pc:docMk/>
            <pc:sldMasterMk cId="2453179225" sldId="2147483648"/>
            <pc:sldLayoutMk cId="773624373" sldId="2147483650"/>
          </pc:sldLayoutMkLst>
        </pc:sldLayoutChg>
        <pc:sldLayoutChg chg="setBg">
          <pc:chgData name="MAYCON RIBEIRO BELMIRO" userId="47bef541-8a05-4031-a4ea-b714aaf9f105" providerId="ADAL" clId="{A30C9A1E-D251-44DB-9134-1A4999AEBF52}" dt="2026-03-06T15:45:19.842" v="2761"/>
          <pc:sldLayoutMkLst>
            <pc:docMk/>
            <pc:sldMasterMk cId="2453179225" sldId="2147483648"/>
            <pc:sldLayoutMk cId="3439255754" sldId="2147483651"/>
          </pc:sldLayoutMkLst>
        </pc:sldLayoutChg>
        <pc:sldLayoutChg chg="setBg">
          <pc:chgData name="MAYCON RIBEIRO BELMIRO" userId="47bef541-8a05-4031-a4ea-b714aaf9f105" providerId="ADAL" clId="{A30C9A1E-D251-44DB-9134-1A4999AEBF52}" dt="2026-03-06T15:45:19.842" v="2761"/>
          <pc:sldLayoutMkLst>
            <pc:docMk/>
            <pc:sldMasterMk cId="2453179225" sldId="2147483648"/>
            <pc:sldLayoutMk cId="654491570" sldId="2147483652"/>
          </pc:sldLayoutMkLst>
        </pc:sldLayoutChg>
        <pc:sldLayoutChg chg="setBg">
          <pc:chgData name="MAYCON RIBEIRO BELMIRO" userId="47bef541-8a05-4031-a4ea-b714aaf9f105" providerId="ADAL" clId="{A30C9A1E-D251-44DB-9134-1A4999AEBF52}" dt="2026-03-06T15:45:19.842" v="2761"/>
          <pc:sldLayoutMkLst>
            <pc:docMk/>
            <pc:sldMasterMk cId="2453179225" sldId="2147483648"/>
            <pc:sldLayoutMk cId="3974778905" sldId="2147483653"/>
          </pc:sldLayoutMkLst>
        </pc:sldLayoutChg>
        <pc:sldLayoutChg chg="setBg">
          <pc:chgData name="MAYCON RIBEIRO BELMIRO" userId="47bef541-8a05-4031-a4ea-b714aaf9f105" providerId="ADAL" clId="{A30C9A1E-D251-44DB-9134-1A4999AEBF52}" dt="2026-03-06T15:45:19.842" v="2761"/>
          <pc:sldLayoutMkLst>
            <pc:docMk/>
            <pc:sldMasterMk cId="2453179225" sldId="2147483648"/>
            <pc:sldLayoutMk cId="2072892074" sldId="2147483654"/>
          </pc:sldLayoutMkLst>
        </pc:sldLayoutChg>
        <pc:sldLayoutChg chg="setBg">
          <pc:chgData name="MAYCON RIBEIRO BELMIRO" userId="47bef541-8a05-4031-a4ea-b714aaf9f105" providerId="ADAL" clId="{A30C9A1E-D251-44DB-9134-1A4999AEBF52}" dt="2026-03-06T15:45:19.842" v="2761"/>
          <pc:sldLayoutMkLst>
            <pc:docMk/>
            <pc:sldMasterMk cId="2453179225" sldId="2147483648"/>
            <pc:sldLayoutMk cId="375820448" sldId="2147483655"/>
          </pc:sldLayoutMkLst>
        </pc:sldLayoutChg>
        <pc:sldLayoutChg chg="setBg">
          <pc:chgData name="MAYCON RIBEIRO BELMIRO" userId="47bef541-8a05-4031-a4ea-b714aaf9f105" providerId="ADAL" clId="{A30C9A1E-D251-44DB-9134-1A4999AEBF52}" dt="2026-03-06T15:45:19.842" v="2761"/>
          <pc:sldLayoutMkLst>
            <pc:docMk/>
            <pc:sldMasterMk cId="2453179225" sldId="2147483648"/>
            <pc:sldLayoutMk cId="1645726851" sldId="2147483656"/>
          </pc:sldLayoutMkLst>
        </pc:sldLayoutChg>
        <pc:sldLayoutChg chg="setBg">
          <pc:chgData name="MAYCON RIBEIRO BELMIRO" userId="47bef541-8a05-4031-a4ea-b714aaf9f105" providerId="ADAL" clId="{A30C9A1E-D251-44DB-9134-1A4999AEBF52}" dt="2026-03-06T15:45:19.842" v="2761"/>
          <pc:sldLayoutMkLst>
            <pc:docMk/>
            <pc:sldMasterMk cId="2453179225" sldId="2147483648"/>
            <pc:sldLayoutMk cId="47645514" sldId="2147483657"/>
          </pc:sldLayoutMkLst>
        </pc:sldLayoutChg>
        <pc:sldLayoutChg chg="setBg">
          <pc:chgData name="MAYCON RIBEIRO BELMIRO" userId="47bef541-8a05-4031-a4ea-b714aaf9f105" providerId="ADAL" clId="{A30C9A1E-D251-44DB-9134-1A4999AEBF52}" dt="2026-03-06T15:45:19.842" v="2761"/>
          <pc:sldLayoutMkLst>
            <pc:docMk/>
            <pc:sldMasterMk cId="2453179225" sldId="2147483648"/>
            <pc:sldLayoutMk cId="2424741513" sldId="2147483658"/>
          </pc:sldLayoutMkLst>
        </pc:sldLayoutChg>
        <pc:sldLayoutChg chg="setBg">
          <pc:chgData name="MAYCON RIBEIRO BELMIRO" userId="47bef541-8a05-4031-a4ea-b714aaf9f105" providerId="ADAL" clId="{A30C9A1E-D251-44DB-9134-1A4999AEBF52}" dt="2026-03-06T15:45:19.842" v="2761"/>
          <pc:sldLayoutMkLst>
            <pc:docMk/>
            <pc:sldMasterMk cId="2453179225" sldId="2147483648"/>
            <pc:sldLayoutMk cId="1587632929" sldId="2147483659"/>
          </pc:sldLayoutMkLst>
        </pc:sldLayoutChg>
      </pc:sldMaster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BR" dirty="0"/>
          </a:p>
        </p:txBody>
      </p:sp>
      <p:sp>
        <p:nvSpPr>
          <p:cNvPr id="3" name="Espaço Reservado para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7065ADF-997D-4BA2-AA1D-EAC6EB3CA69D}" type="datetimeFigureOut">
              <a:rPr lang="pt-BR" smtClean="0"/>
              <a:t>31/03/2026</a:t>
            </a:fld>
            <a:endParaRPr lang="pt-BR" dirty="0"/>
          </a:p>
        </p:txBody>
      </p:sp>
      <p:sp>
        <p:nvSpPr>
          <p:cNvPr id="4" name="Espaço Reservado para Imagem de Slide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t-BR" dirty="0"/>
          </a:p>
        </p:txBody>
      </p:sp>
      <p:sp>
        <p:nvSpPr>
          <p:cNvPr id="5" name="Espaço Reservado para Anotaçõ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BR" dirty="0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D86FC2E-B1F4-4346-A170-4D1841A51B98}" type="slidenum">
              <a:rPr lang="pt-BR" smtClean="0"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14772139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CD42273C-4D00-8441-706C-E9AB51B3F2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2119F667-4681-0EF6-1AF4-B146C866DA8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/>
              <a:t>Clique para editar o estilo do subtítulo Mestre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15CBAEF6-D936-A343-98E8-5395FB4ABCE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8E448D5-06A4-4BB7-899D-2A6401B0132C}" type="datetimeFigureOut">
              <a:rPr lang="pt-BR" smtClean="0"/>
              <a:t>31/03/2026</a:t>
            </a:fld>
            <a:endParaRPr lang="pt-BR" dirty="0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B93161A2-892A-09C3-268A-987EE95DF7D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7AC65DFF-D4F7-F680-1DB2-9BC47AEF853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0DE7E4-864E-414A-9D7B-7D54811D3F96}" type="slidenum">
              <a:rPr lang="pt-BR" smtClean="0"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90429723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e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D51E9B66-A658-DE77-AFD1-B81E51BDB5F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Vertical 2">
            <a:extLst>
              <a:ext uri="{FF2B5EF4-FFF2-40B4-BE49-F238E27FC236}">
                <a16:creationId xmlns:a16="http://schemas.microsoft.com/office/drawing/2014/main" id="{FD09D3C9-FAC9-4237-FF6F-6FBFF26D113F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6FDA1450-50AA-80AC-F536-E031DEE0FA1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8E448D5-06A4-4BB7-899D-2A6401B0132C}" type="datetimeFigureOut">
              <a:rPr lang="pt-BR" smtClean="0"/>
              <a:t>31/03/2026</a:t>
            </a:fld>
            <a:endParaRPr lang="pt-BR" dirty="0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68EC2CE8-CE2E-5301-B453-63739DAD017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3E987836-4190-E943-EBE7-16AB761DE50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0DE7E4-864E-414A-9D7B-7D54811D3F96}" type="slidenum">
              <a:rPr lang="pt-BR" smtClean="0"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42474151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exto e Títul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>
            <a:extLst>
              <a:ext uri="{FF2B5EF4-FFF2-40B4-BE49-F238E27FC236}">
                <a16:creationId xmlns:a16="http://schemas.microsoft.com/office/drawing/2014/main" id="{E9C2F8FA-2E41-AF17-9C45-5A988748B69B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Vertical 2">
            <a:extLst>
              <a:ext uri="{FF2B5EF4-FFF2-40B4-BE49-F238E27FC236}">
                <a16:creationId xmlns:a16="http://schemas.microsoft.com/office/drawing/2014/main" id="{10485F23-AF2B-BB3D-4612-A0B69BCCA048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7AD459F5-03BC-AD43-B8B7-A002E64EDD6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8E448D5-06A4-4BB7-899D-2A6401B0132C}" type="datetimeFigureOut">
              <a:rPr lang="pt-BR" smtClean="0"/>
              <a:t>31/03/2026</a:t>
            </a:fld>
            <a:endParaRPr lang="pt-BR" dirty="0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B32CA9C6-857F-5E6D-AE1A-C4127F5E853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8455B4C4-5FB7-DCF9-EDF7-D7F5ACEC79F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0DE7E4-864E-414A-9D7B-7D54811D3F96}" type="slidenum">
              <a:rPr lang="pt-BR" smtClean="0"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58763292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E3F3F92E-835B-956F-CE5B-3989ABAA5AB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CA1B37AB-60A3-D0DD-831B-9B27EC48693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6D26C026-4F75-6749-A9CF-F201ECF2AF0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8E448D5-06A4-4BB7-899D-2A6401B0132C}" type="datetimeFigureOut">
              <a:rPr lang="pt-BR" smtClean="0"/>
              <a:t>31/03/2026</a:t>
            </a:fld>
            <a:endParaRPr lang="pt-BR" dirty="0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8E8E2052-9054-1C90-DE69-E7371F46602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64C0CE3D-DA12-A2E9-0F40-4642943BB12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0DE7E4-864E-414A-9D7B-7D54811D3F96}" type="slidenum">
              <a:rPr lang="pt-BR" smtClean="0"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77362437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Cabeçalho da Se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ECA1FE2D-3AC2-0A59-0EC6-FAF48FFC945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F60261A3-F647-A01A-2737-2C7AE893F21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82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01221289-D491-C4F8-2538-85332B84E6B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8E448D5-06A4-4BB7-899D-2A6401B0132C}" type="datetimeFigureOut">
              <a:rPr lang="pt-BR" smtClean="0"/>
              <a:t>31/03/2026</a:t>
            </a:fld>
            <a:endParaRPr lang="pt-BR" dirty="0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9611720C-644C-39D6-D5C8-D0A8B749669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ACFD991C-3711-2B0D-5899-0CBEBBA386F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0DE7E4-864E-414A-9D7B-7D54811D3F96}" type="slidenum">
              <a:rPr lang="pt-BR" smtClean="0"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43925575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C99173B7-995F-B7AB-79F9-559C223FB2C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A8B82BF6-E53E-8DA0-B9F7-F22D2AF6611C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Conteúdo 3">
            <a:extLst>
              <a:ext uri="{FF2B5EF4-FFF2-40B4-BE49-F238E27FC236}">
                <a16:creationId xmlns:a16="http://schemas.microsoft.com/office/drawing/2014/main" id="{91B5990A-68FE-96B4-B757-FBA76E4834C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5" name="Espaço Reservado para Data 4">
            <a:extLst>
              <a:ext uri="{FF2B5EF4-FFF2-40B4-BE49-F238E27FC236}">
                <a16:creationId xmlns:a16="http://schemas.microsoft.com/office/drawing/2014/main" id="{E600A23D-9DD4-3A5F-C68A-0173F090545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8E448D5-06A4-4BB7-899D-2A6401B0132C}" type="datetimeFigureOut">
              <a:rPr lang="pt-BR" smtClean="0"/>
              <a:t>31/03/2026</a:t>
            </a:fld>
            <a:endParaRPr lang="pt-BR" dirty="0"/>
          </a:p>
        </p:txBody>
      </p:sp>
      <p:sp>
        <p:nvSpPr>
          <p:cNvPr id="6" name="Espaço Reservado para Rodapé 5">
            <a:extLst>
              <a:ext uri="{FF2B5EF4-FFF2-40B4-BE49-F238E27FC236}">
                <a16:creationId xmlns:a16="http://schemas.microsoft.com/office/drawing/2014/main" id="{1B63E897-2BAA-FEEF-A699-50A619849FB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7" name="Espaço Reservado para Número de Slide 6">
            <a:extLst>
              <a:ext uri="{FF2B5EF4-FFF2-40B4-BE49-F238E27FC236}">
                <a16:creationId xmlns:a16="http://schemas.microsoft.com/office/drawing/2014/main" id="{DD119549-25D6-10A7-66DB-0F8E61CB98B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0DE7E4-864E-414A-9D7B-7D54811D3F96}" type="slidenum">
              <a:rPr lang="pt-BR" smtClean="0"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65449157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5A8A5A6F-E7C6-FA2C-E14A-0BD6827D86D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EF7F06FC-F67C-92DA-A6F3-C98FB1CB42E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4" name="Espaço Reservado para Conteúdo 3">
            <a:extLst>
              <a:ext uri="{FF2B5EF4-FFF2-40B4-BE49-F238E27FC236}">
                <a16:creationId xmlns:a16="http://schemas.microsoft.com/office/drawing/2014/main" id="{FEEE9E4A-38B9-D06C-E6F0-11DF622BFE2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5" name="Espaço Reservado para Texto 4">
            <a:extLst>
              <a:ext uri="{FF2B5EF4-FFF2-40B4-BE49-F238E27FC236}">
                <a16:creationId xmlns:a16="http://schemas.microsoft.com/office/drawing/2014/main" id="{0F7F7E65-3C19-0BDC-4686-05B4E4BB81D8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6" name="Espaço Reservado para Conteúdo 5">
            <a:extLst>
              <a:ext uri="{FF2B5EF4-FFF2-40B4-BE49-F238E27FC236}">
                <a16:creationId xmlns:a16="http://schemas.microsoft.com/office/drawing/2014/main" id="{56D259F8-6EC6-420D-F95A-AE162CBC51EF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7" name="Espaço Reservado para Data 6">
            <a:extLst>
              <a:ext uri="{FF2B5EF4-FFF2-40B4-BE49-F238E27FC236}">
                <a16:creationId xmlns:a16="http://schemas.microsoft.com/office/drawing/2014/main" id="{79C58583-74AC-BCD6-EF45-23489B9BC30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8E448D5-06A4-4BB7-899D-2A6401B0132C}" type="datetimeFigureOut">
              <a:rPr lang="pt-BR" smtClean="0"/>
              <a:t>31/03/2026</a:t>
            </a:fld>
            <a:endParaRPr lang="pt-BR" dirty="0"/>
          </a:p>
        </p:txBody>
      </p:sp>
      <p:sp>
        <p:nvSpPr>
          <p:cNvPr id="8" name="Espaço Reservado para Rodapé 7">
            <a:extLst>
              <a:ext uri="{FF2B5EF4-FFF2-40B4-BE49-F238E27FC236}">
                <a16:creationId xmlns:a16="http://schemas.microsoft.com/office/drawing/2014/main" id="{2C0DEC8B-B8C7-9841-447C-90AB58A9D3C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9" name="Espaço Reservado para Número de Slide 8">
            <a:extLst>
              <a:ext uri="{FF2B5EF4-FFF2-40B4-BE49-F238E27FC236}">
                <a16:creationId xmlns:a16="http://schemas.microsoft.com/office/drawing/2014/main" id="{6043A2CE-D3A8-4867-8005-BF82C9AD512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0DE7E4-864E-414A-9D7B-7D54811D3F96}" type="slidenum">
              <a:rPr lang="pt-BR" smtClean="0"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97477890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C1ED4A3E-42C5-D2DB-43F2-ECE56A869E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Data 2">
            <a:extLst>
              <a:ext uri="{FF2B5EF4-FFF2-40B4-BE49-F238E27FC236}">
                <a16:creationId xmlns:a16="http://schemas.microsoft.com/office/drawing/2014/main" id="{C9CF662F-8DC6-C618-08D1-B5765C3215E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8E448D5-06A4-4BB7-899D-2A6401B0132C}" type="datetimeFigureOut">
              <a:rPr lang="pt-BR" smtClean="0"/>
              <a:t>31/03/2026</a:t>
            </a:fld>
            <a:endParaRPr lang="pt-BR" dirty="0"/>
          </a:p>
        </p:txBody>
      </p:sp>
      <p:sp>
        <p:nvSpPr>
          <p:cNvPr id="4" name="Espaço Reservado para Rodapé 3">
            <a:extLst>
              <a:ext uri="{FF2B5EF4-FFF2-40B4-BE49-F238E27FC236}">
                <a16:creationId xmlns:a16="http://schemas.microsoft.com/office/drawing/2014/main" id="{B6CC1F7A-FF06-55D1-375E-6956AA9C292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5" name="Espaço Reservado para Número de Slide 4">
            <a:extLst>
              <a:ext uri="{FF2B5EF4-FFF2-40B4-BE49-F238E27FC236}">
                <a16:creationId xmlns:a16="http://schemas.microsoft.com/office/drawing/2014/main" id="{1F471689-8EA9-0C20-51FC-9AD609D9629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0DE7E4-864E-414A-9D7B-7D54811D3F96}" type="slidenum">
              <a:rPr lang="pt-BR" smtClean="0"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07289207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Data 1">
            <a:extLst>
              <a:ext uri="{FF2B5EF4-FFF2-40B4-BE49-F238E27FC236}">
                <a16:creationId xmlns:a16="http://schemas.microsoft.com/office/drawing/2014/main" id="{88D060B9-87D1-D2F5-5C37-AB745A9830D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8E448D5-06A4-4BB7-899D-2A6401B0132C}" type="datetimeFigureOut">
              <a:rPr lang="pt-BR" smtClean="0"/>
              <a:t>31/03/2026</a:t>
            </a:fld>
            <a:endParaRPr lang="pt-BR" dirty="0"/>
          </a:p>
        </p:txBody>
      </p:sp>
      <p:sp>
        <p:nvSpPr>
          <p:cNvPr id="3" name="Espaço Reservado para Rodapé 2">
            <a:extLst>
              <a:ext uri="{FF2B5EF4-FFF2-40B4-BE49-F238E27FC236}">
                <a16:creationId xmlns:a16="http://schemas.microsoft.com/office/drawing/2014/main" id="{19388E51-9E85-1747-7F01-9652CDA5F56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>
            <a:extLst>
              <a:ext uri="{FF2B5EF4-FFF2-40B4-BE49-F238E27FC236}">
                <a16:creationId xmlns:a16="http://schemas.microsoft.com/office/drawing/2014/main" id="{8CE69C20-40E9-C774-0CF4-F9141AD32E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0DE7E4-864E-414A-9D7B-7D54811D3F96}" type="slidenum">
              <a:rPr lang="pt-BR" smtClean="0"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7582044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údo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9BFE837D-BAD3-CD4E-C58A-18639CE7B93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116EC342-2FE8-0D4A-3B24-804B451313A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Texto 3">
            <a:extLst>
              <a:ext uri="{FF2B5EF4-FFF2-40B4-BE49-F238E27FC236}">
                <a16:creationId xmlns:a16="http://schemas.microsoft.com/office/drawing/2014/main" id="{A6378875-E96C-9D80-3CED-64C379E1D09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5" name="Espaço Reservado para Data 4">
            <a:extLst>
              <a:ext uri="{FF2B5EF4-FFF2-40B4-BE49-F238E27FC236}">
                <a16:creationId xmlns:a16="http://schemas.microsoft.com/office/drawing/2014/main" id="{4D4875DD-CE60-CFAB-E689-E4EB04373CC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8E448D5-06A4-4BB7-899D-2A6401B0132C}" type="datetimeFigureOut">
              <a:rPr lang="pt-BR" smtClean="0"/>
              <a:t>31/03/2026</a:t>
            </a:fld>
            <a:endParaRPr lang="pt-BR" dirty="0"/>
          </a:p>
        </p:txBody>
      </p:sp>
      <p:sp>
        <p:nvSpPr>
          <p:cNvPr id="6" name="Espaço Reservado para Rodapé 5">
            <a:extLst>
              <a:ext uri="{FF2B5EF4-FFF2-40B4-BE49-F238E27FC236}">
                <a16:creationId xmlns:a16="http://schemas.microsoft.com/office/drawing/2014/main" id="{665122ED-2AF7-1700-0051-3348413A2A3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7" name="Espaço Reservado para Número de Slide 6">
            <a:extLst>
              <a:ext uri="{FF2B5EF4-FFF2-40B4-BE49-F238E27FC236}">
                <a16:creationId xmlns:a16="http://schemas.microsoft.com/office/drawing/2014/main" id="{27789BCE-3426-5908-D8A4-13CEBCFC3E6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0DE7E4-864E-414A-9D7B-7D54811D3F96}" type="slidenum">
              <a:rPr lang="pt-BR" smtClean="0"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64572685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m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1B93F8F1-1E3C-C1C9-41CC-1D0112B4349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Imagem 2">
            <a:extLst>
              <a:ext uri="{FF2B5EF4-FFF2-40B4-BE49-F238E27FC236}">
                <a16:creationId xmlns:a16="http://schemas.microsoft.com/office/drawing/2014/main" id="{C866E9F0-AB92-89EE-A572-21A9B73DE7E0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pt-BR" dirty="0"/>
          </a:p>
        </p:txBody>
      </p:sp>
      <p:sp>
        <p:nvSpPr>
          <p:cNvPr id="4" name="Espaço Reservado para Texto 3">
            <a:extLst>
              <a:ext uri="{FF2B5EF4-FFF2-40B4-BE49-F238E27FC236}">
                <a16:creationId xmlns:a16="http://schemas.microsoft.com/office/drawing/2014/main" id="{2A1A8808-2FF3-B372-82E2-013B1F1F538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5" name="Espaço Reservado para Data 4">
            <a:extLst>
              <a:ext uri="{FF2B5EF4-FFF2-40B4-BE49-F238E27FC236}">
                <a16:creationId xmlns:a16="http://schemas.microsoft.com/office/drawing/2014/main" id="{3C1A6463-620F-91CB-7C6A-66CFDD87F68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8E448D5-06A4-4BB7-899D-2A6401B0132C}" type="datetimeFigureOut">
              <a:rPr lang="pt-BR" smtClean="0"/>
              <a:t>31/03/2026</a:t>
            </a:fld>
            <a:endParaRPr lang="pt-BR" dirty="0"/>
          </a:p>
        </p:txBody>
      </p:sp>
      <p:sp>
        <p:nvSpPr>
          <p:cNvPr id="6" name="Espaço Reservado para Rodapé 5">
            <a:extLst>
              <a:ext uri="{FF2B5EF4-FFF2-40B4-BE49-F238E27FC236}">
                <a16:creationId xmlns:a16="http://schemas.microsoft.com/office/drawing/2014/main" id="{7DAE54C4-D084-723F-50C8-73A35802673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7" name="Espaço Reservado para Número de Slide 6">
            <a:extLst>
              <a:ext uri="{FF2B5EF4-FFF2-40B4-BE49-F238E27FC236}">
                <a16:creationId xmlns:a16="http://schemas.microsoft.com/office/drawing/2014/main" id="{ABCE9143-CA96-DD40-B519-4E4BFBD4DC8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0DE7E4-864E-414A-9D7B-7D54811D3F96}" type="slidenum">
              <a:rPr lang="pt-BR" smtClean="0"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4764551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Título 1">
            <a:extLst>
              <a:ext uri="{FF2B5EF4-FFF2-40B4-BE49-F238E27FC236}">
                <a16:creationId xmlns:a16="http://schemas.microsoft.com/office/drawing/2014/main" id="{AA54E39A-7D6A-C187-2444-17D48965BD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BD4AA88C-1295-1539-B5AD-911D06A67A2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056CCF52-3D36-8646-8455-91905DF400D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F8E448D5-06A4-4BB7-899D-2A6401B0132C}" type="datetimeFigureOut">
              <a:rPr lang="pt-BR" smtClean="0"/>
              <a:t>31/03/2026</a:t>
            </a:fld>
            <a:endParaRPr lang="pt-BR" dirty="0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684E808E-B068-19DF-1C35-E6EEB746C1A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pt-BR" dirty="0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4AF1D06A-A746-B835-D782-73467FEC2ED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AF0DE7E4-864E-414A-9D7B-7D54811D3F96}" type="slidenum">
              <a:rPr lang="pt-BR" smtClean="0"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45317922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.xml"/><Relationship Id="rId5" Type="http://schemas.microsoft.com/office/2007/relationships/hdphoto" Target="../media/hdphoto1.wdp"/><Relationship Id="rId4" Type="http://schemas.openxmlformats.org/officeDocument/2006/relationships/image" Target="../media/image3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7" Type="http://schemas.openxmlformats.org/officeDocument/2006/relationships/image" Target="../media/image16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.xml"/><Relationship Id="rId6" Type="http://schemas.openxmlformats.org/officeDocument/2006/relationships/hyperlink" Target="https://www.youtube.com/watch?v=gBESTOYM0ik&amp;list=PLFuppb-V4HEktcBWw9WCGNMt6AcTIJADW&amp;index=76" TargetMode="External"/><Relationship Id="rId5" Type="http://schemas.microsoft.com/office/2007/relationships/hdphoto" Target="../media/hdphoto1.wdp"/><Relationship Id="rId4" Type="http://schemas.openxmlformats.org/officeDocument/2006/relationships/image" Target="../media/image3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7" Type="http://schemas.openxmlformats.org/officeDocument/2006/relationships/image" Target="../media/image16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.xml"/><Relationship Id="rId6" Type="http://schemas.openxmlformats.org/officeDocument/2006/relationships/hyperlink" Target="https://www.youtube.com/watch?v=gBESTOYM0ik&amp;list=PLFuppb-V4HEktcBWw9WCGNMt6AcTIJADW&amp;index=76" TargetMode="External"/><Relationship Id="rId5" Type="http://schemas.microsoft.com/office/2007/relationships/hdphoto" Target="../media/hdphoto1.wdp"/><Relationship Id="rId4" Type="http://schemas.openxmlformats.org/officeDocument/2006/relationships/image" Target="../media/image3.pn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slideLayout" Target="../slideLayouts/slideLayout1.xml"/><Relationship Id="rId7" Type="http://schemas.microsoft.com/office/2007/relationships/hdphoto" Target="../media/hdphoto1.wdp"/><Relationship Id="rId2" Type="http://schemas.openxmlformats.org/officeDocument/2006/relationships/video" Target="../media/media2.mp4"/><Relationship Id="rId1" Type="http://schemas.microsoft.com/office/2007/relationships/media" Target="../media/media2.mp4"/><Relationship Id="rId6" Type="http://schemas.openxmlformats.org/officeDocument/2006/relationships/image" Target="../media/image3.png"/><Relationship Id="rId5" Type="http://schemas.openxmlformats.org/officeDocument/2006/relationships/image" Target="../media/image2.png"/><Relationship Id="rId10" Type="http://schemas.openxmlformats.org/officeDocument/2006/relationships/image" Target="../media/image18.png"/><Relationship Id="rId4" Type="http://schemas.openxmlformats.org/officeDocument/2006/relationships/image" Target="../media/image4.png"/><Relationship Id="rId9" Type="http://schemas.openxmlformats.org/officeDocument/2006/relationships/hyperlink" Target="https://www.youtube.com/watch?v=NN89PfOfGvY&amp;list=PLFuppb-V4HEktcBWw9WCGNMt6AcTIJADW&amp;index=74" TargetMode="Externa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7" Type="http://schemas.openxmlformats.org/officeDocument/2006/relationships/image" Target="../media/image18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.xml"/><Relationship Id="rId6" Type="http://schemas.openxmlformats.org/officeDocument/2006/relationships/hyperlink" Target="https://www.youtube.com/watch?v=NN89PfOfGvY&amp;list=PLFuppb-V4HEktcBWw9WCGNMt6AcTIJADW&amp;index=74" TargetMode="External"/><Relationship Id="rId5" Type="http://schemas.microsoft.com/office/2007/relationships/hdphoto" Target="../media/hdphoto1.wdp"/><Relationship Id="rId4" Type="http://schemas.openxmlformats.org/officeDocument/2006/relationships/image" Target="../media/image3.pn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youtube.com/watch?v=gBESTOYM0ik&amp;list=PLFuppb-V4HEktcBWw9WCGNMt6AcTIJADW&amp;index=76" TargetMode="External"/><Relationship Id="rId3" Type="http://schemas.openxmlformats.org/officeDocument/2006/relationships/slideLayout" Target="../slideLayouts/slideLayout1.xml"/><Relationship Id="rId7" Type="http://schemas.microsoft.com/office/2007/relationships/hdphoto" Target="../media/hdphoto1.wdp"/><Relationship Id="rId12" Type="http://schemas.openxmlformats.org/officeDocument/2006/relationships/image" Target="../media/image20.png"/><Relationship Id="rId2" Type="http://schemas.openxmlformats.org/officeDocument/2006/relationships/video" Target="../media/media3.mp4"/><Relationship Id="rId1" Type="http://schemas.microsoft.com/office/2007/relationships/media" Target="../media/media3.mp4"/><Relationship Id="rId6" Type="http://schemas.openxmlformats.org/officeDocument/2006/relationships/image" Target="../media/image3.png"/><Relationship Id="rId11" Type="http://schemas.openxmlformats.org/officeDocument/2006/relationships/image" Target="../media/image19.png"/><Relationship Id="rId5" Type="http://schemas.openxmlformats.org/officeDocument/2006/relationships/image" Target="../media/image2.png"/><Relationship Id="rId10" Type="http://schemas.openxmlformats.org/officeDocument/2006/relationships/hyperlink" Target="https://www.youtube.com/watch?v=4ezZeYj2iVI&amp;list=PLFuppb-V4HEktcBWw9WCGNMt6AcTIJADW&amp;index=75" TargetMode="External"/><Relationship Id="rId4" Type="http://schemas.openxmlformats.org/officeDocument/2006/relationships/image" Target="../media/image4.png"/><Relationship Id="rId9" Type="http://schemas.openxmlformats.org/officeDocument/2006/relationships/image" Target="../media/image16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7" Type="http://schemas.openxmlformats.org/officeDocument/2006/relationships/image" Target="../media/image16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.xml"/><Relationship Id="rId6" Type="http://schemas.openxmlformats.org/officeDocument/2006/relationships/hyperlink" Target="https://www.youtube.com/watch?v=gBESTOYM0ik&amp;list=PLFuppb-V4HEktcBWw9WCGNMt6AcTIJADW&amp;index=76" TargetMode="External"/><Relationship Id="rId5" Type="http://schemas.microsoft.com/office/2007/relationships/hdphoto" Target="../media/hdphoto1.wdp"/><Relationship Id="rId4" Type="http://schemas.openxmlformats.org/officeDocument/2006/relationships/image" Target="../media/image3.pn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youtube.com/watch?v=4ezZeYj2iVI&amp;list=PLFuppb-V4HEktcBWw9WCGNMt6AcTIJADW&amp;index=75" TargetMode="External"/><Relationship Id="rId3" Type="http://schemas.openxmlformats.org/officeDocument/2006/relationships/image" Target="../media/image2.png"/><Relationship Id="rId7" Type="http://schemas.openxmlformats.org/officeDocument/2006/relationships/image" Target="../media/image16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.xml"/><Relationship Id="rId6" Type="http://schemas.openxmlformats.org/officeDocument/2006/relationships/hyperlink" Target="https://www.youtube.com/watch?v=gBESTOYM0ik&amp;list=PLFuppb-V4HEktcBWw9WCGNMt6AcTIJADW&amp;index=76" TargetMode="External"/><Relationship Id="rId5" Type="http://schemas.microsoft.com/office/2007/relationships/hdphoto" Target="../media/hdphoto1.wdp"/><Relationship Id="rId4" Type="http://schemas.openxmlformats.org/officeDocument/2006/relationships/image" Target="../media/image3.png"/><Relationship Id="rId9" Type="http://schemas.openxmlformats.org/officeDocument/2006/relationships/image" Target="../media/image19.pn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youtube.com/watch?v=Tm9X0_IAOhs" TargetMode="External"/><Relationship Id="rId3" Type="http://schemas.openxmlformats.org/officeDocument/2006/relationships/image" Target="../media/image2.png"/><Relationship Id="rId7" Type="http://schemas.openxmlformats.org/officeDocument/2006/relationships/image" Target="../media/image16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.xml"/><Relationship Id="rId6" Type="http://schemas.openxmlformats.org/officeDocument/2006/relationships/hyperlink" Target="https://www.youtube.com/watch?v=gBESTOYM0ik&amp;list=PLFuppb-V4HEktcBWw9WCGNMt6AcTIJADW&amp;index=76" TargetMode="External"/><Relationship Id="rId5" Type="http://schemas.microsoft.com/office/2007/relationships/hdphoto" Target="../media/hdphoto1.wdp"/><Relationship Id="rId10" Type="http://schemas.microsoft.com/office/2007/relationships/hdphoto" Target="../media/hdphoto4.wdp"/><Relationship Id="rId4" Type="http://schemas.openxmlformats.org/officeDocument/2006/relationships/image" Target="../media/image3.png"/><Relationship Id="rId9" Type="http://schemas.openxmlformats.org/officeDocument/2006/relationships/image" Target="../media/image21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7" Type="http://schemas.openxmlformats.org/officeDocument/2006/relationships/image" Target="../media/image16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.xml"/><Relationship Id="rId6" Type="http://schemas.openxmlformats.org/officeDocument/2006/relationships/hyperlink" Target="https://www.youtube.com/watch?v=gBESTOYM0ik&amp;list=PLFuppb-V4HEktcBWw9WCGNMt6AcTIJADW&amp;index=76" TargetMode="External"/><Relationship Id="rId5" Type="http://schemas.microsoft.com/office/2007/relationships/hdphoto" Target="../media/hdphoto1.wdp"/><Relationship Id="rId4" Type="http://schemas.openxmlformats.org/officeDocument/2006/relationships/image" Target="../media/image3.png"/></Relationships>
</file>

<file path=ppt/slides/_rels/slide19.xml.rels><?xml version="1.0" encoding="UTF-8" standalone="yes"?>
<Relationships xmlns="http://schemas.openxmlformats.org/package/2006/relationships"><Relationship Id="rId8" Type="http://schemas.microsoft.com/office/2007/relationships/hdphoto" Target="../media/hdphoto5.wdp"/><Relationship Id="rId13" Type="http://schemas.microsoft.com/office/2007/relationships/hdphoto" Target="../media/hdphoto4.wdp"/><Relationship Id="rId3" Type="http://schemas.openxmlformats.org/officeDocument/2006/relationships/image" Target="../media/image2.png"/><Relationship Id="rId7" Type="http://schemas.openxmlformats.org/officeDocument/2006/relationships/image" Target="../media/image22.png"/><Relationship Id="rId12" Type="http://schemas.openxmlformats.org/officeDocument/2006/relationships/image" Target="../media/image21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.xml"/><Relationship Id="rId6" Type="http://schemas.openxmlformats.org/officeDocument/2006/relationships/hyperlink" Target="https://www.youtube.com/watch?v=BiP9PYI_Kb4" TargetMode="External"/><Relationship Id="rId11" Type="http://schemas.openxmlformats.org/officeDocument/2006/relationships/hyperlink" Target="https://www.youtube.com/watch?v=Tm9X0_IAOhs" TargetMode="External"/><Relationship Id="rId5" Type="http://schemas.microsoft.com/office/2007/relationships/hdphoto" Target="../media/hdphoto1.wdp"/><Relationship Id="rId10" Type="http://schemas.microsoft.com/office/2007/relationships/hdphoto" Target="../media/hdphoto6.wdp"/><Relationship Id="rId4" Type="http://schemas.openxmlformats.org/officeDocument/2006/relationships/image" Target="../media/image3.png"/><Relationship Id="rId9" Type="http://schemas.openxmlformats.org/officeDocument/2006/relationships/image" Target="../media/image23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7" Type="http://schemas.microsoft.com/office/2007/relationships/hdphoto" Target="../media/hdphoto2.wdp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5.png"/><Relationship Id="rId5" Type="http://schemas.microsoft.com/office/2007/relationships/hdphoto" Target="../media/hdphoto1.wdp"/><Relationship Id="rId4" Type="http://schemas.openxmlformats.org/officeDocument/2006/relationships/image" Target="../media/image3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7" Type="http://schemas.openxmlformats.org/officeDocument/2006/relationships/image" Target="../media/image16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.xml"/><Relationship Id="rId6" Type="http://schemas.openxmlformats.org/officeDocument/2006/relationships/hyperlink" Target="https://www.youtube.com/watch?v=gBESTOYM0ik&amp;list=PLFuppb-V4HEktcBWw9WCGNMt6AcTIJADW&amp;index=76" TargetMode="External"/><Relationship Id="rId5" Type="http://schemas.microsoft.com/office/2007/relationships/hdphoto" Target="../media/hdphoto1.wdp"/><Relationship Id="rId4" Type="http://schemas.openxmlformats.org/officeDocument/2006/relationships/image" Target="../media/image3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7" Type="http://schemas.openxmlformats.org/officeDocument/2006/relationships/image" Target="../media/image16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.xml"/><Relationship Id="rId6" Type="http://schemas.openxmlformats.org/officeDocument/2006/relationships/hyperlink" Target="https://www.youtube.com/watch?v=gBESTOYM0ik&amp;list=PLFuppb-V4HEktcBWw9WCGNMt6AcTIJADW&amp;index=76" TargetMode="External"/><Relationship Id="rId5" Type="http://schemas.microsoft.com/office/2007/relationships/hdphoto" Target="../media/hdphoto1.wdp"/><Relationship Id="rId4" Type="http://schemas.openxmlformats.org/officeDocument/2006/relationships/image" Target="../media/image3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7" Type="http://schemas.openxmlformats.org/officeDocument/2006/relationships/image" Target="../media/image16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.xml"/><Relationship Id="rId6" Type="http://schemas.openxmlformats.org/officeDocument/2006/relationships/hyperlink" Target="https://www.youtube.com/watch?v=gBESTOYM0ik&amp;list=PLFuppb-V4HEktcBWw9WCGNMt6AcTIJADW&amp;index=76" TargetMode="External"/><Relationship Id="rId5" Type="http://schemas.microsoft.com/office/2007/relationships/hdphoto" Target="../media/hdphoto1.wdp"/><Relationship Id="rId4" Type="http://schemas.openxmlformats.org/officeDocument/2006/relationships/image" Target="../media/image3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7" Type="http://schemas.openxmlformats.org/officeDocument/2006/relationships/image" Target="../media/image2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4.png"/><Relationship Id="rId5" Type="http://schemas.microsoft.com/office/2007/relationships/hdphoto" Target="../media/hdphoto1.wdp"/><Relationship Id="rId4" Type="http://schemas.openxmlformats.org/officeDocument/2006/relationships/image" Target="../media/image3.png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png"/><Relationship Id="rId3" Type="http://schemas.openxmlformats.org/officeDocument/2006/relationships/image" Target="../media/image2.png"/><Relationship Id="rId7" Type="http://schemas.openxmlformats.org/officeDocument/2006/relationships/image" Target="../media/image24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6.png"/><Relationship Id="rId5" Type="http://schemas.microsoft.com/office/2007/relationships/hdphoto" Target="../media/hdphoto1.wdp"/><Relationship Id="rId10" Type="http://schemas.openxmlformats.org/officeDocument/2006/relationships/image" Target="../media/image29.png"/><Relationship Id="rId4" Type="http://schemas.openxmlformats.org/officeDocument/2006/relationships/image" Target="../media/image3.png"/><Relationship Id="rId9" Type="http://schemas.openxmlformats.org/officeDocument/2006/relationships/image" Target="../media/image28.svg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.png"/><Relationship Id="rId3" Type="http://schemas.openxmlformats.org/officeDocument/2006/relationships/image" Target="../media/image2.png"/><Relationship Id="rId7" Type="http://schemas.openxmlformats.org/officeDocument/2006/relationships/image" Target="../media/image24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6.png"/><Relationship Id="rId5" Type="http://schemas.microsoft.com/office/2007/relationships/hdphoto" Target="../media/hdphoto1.wdp"/><Relationship Id="rId4" Type="http://schemas.openxmlformats.org/officeDocument/2006/relationships/image" Target="../media/image3.png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1.png"/><Relationship Id="rId3" Type="http://schemas.openxmlformats.org/officeDocument/2006/relationships/image" Target="../media/image2.png"/><Relationship Id="rId7" Type="http://schemas.openxmlformats.org/officeDocument/2006/relationships/image" Target="../media/image24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6.png"/><Relationship Id="rId5" Type="http://schemas.microsoft.com/office/2007/relationships/hdphoto" Target="../media/hdphoto1.wdp"/><Relationship Id="rId4" Type="http://schemas.openxmlformats.org/officeDocument/2006/relationships/image" Target="../media/image3.png"/><Relationship Id="rId9" Type="http://schemas.openxmlformats.org/officeDocument/2006/relationships/image" Target="../media/image32.png"/></Relationships>
</file>

<file path=ppt/slides/_rels/slide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3.svg"/><Relationship Id="rId3" Type="http://schemas.openxmlformats.org/officeDocument/2006/relationships/image" Target="../media/image2.png"/><Relationship Id="rId7" Type="http://schemas.openxmlformats.org/officeDocument/2006/relationships/image" Target="../media/image24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6.png"/><Relationship Id="rId11" Type="http://schemas.openxmlformats.org/officeDocument/2006/relationships/image" Target="../media/image36.png"/><Relationship Id="rId5" Type="http://schemas.microsoft.com/office/2007/relationships/hdphoto" Target="../media/hdphoto1.wdp"/><Relationship Id="rId10" Type="http://schemas.openxmlformats.org/officeDocument/2006/relationships/image" Target="../media/image35.png"/><Relationship Id="rId4" Type="http://schemas.openxmlformats.org/officeDocument/2006/relationships/image" Target="../media/image3.png"/><Relationship Id="rId9" Type="http://schemas.openxmlformats.org/officeDocument/2006/relationships/image" Target="../media/image34.png"/></Relationships>
</file>

<file path=ppt/slides/_rels/slide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png"/><Relationship Id="rId3" Type="http://schemas.openxmlformats.org/officeDocument/2006/relationships/image" Target="../media/image37.png"/><Relationship Id="rId7" Type="http://schemas.openxmlformats.org/officeDocument/2006/relationships/image" Target="../media/image26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.xml"/><Relationship Id="rId6" Type="http://schemas.microsoft.com/office/2007/relationships/hdphoto" Target="../media/hdphoto1.wdp"/><Relationship Id="rId11" Type="http://schemas.openxmlformats.org/officeDocument/2006/relationships/image" Target="../media/image39.png"/><Relationship Id="rId5" Type="http://schemas.openxmlformats.org/officeDocument/2006/relationships/image" Target="../media/image3.png"/><Relationship Id="rId10" Type="http://schemas.microsoft.com/office/2007/relationships/hdphoto" Target="../media/hdphoto7.wdp"/><Relationship Id="rId4" Type="http://schemas.openxmlformats.org/officeDocument/2006/relationships/image" Target="../media/image2.png"/><Relationship Id="rId9" Type="http://schemas.openxmlformats.org/officeDocument/2006/relationships/image" Target="../media/image38.png"/></Relationships>
</file>

<file path=ppt/slides/_rels/slide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png"/><Relationship Id="rId3" Type="http://schemas.openxmlformats.org/officeDocument/2006/relationships/image" Target="../media/image2.png"/><Relationship Id="rId7" Type="http://schemas.openxmlformats.org/officeDocument/2006/relationships/image" Target="../media/image24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6.png"/><Relationship Id="rId5" Type="http://schemas.microsoft.com/office/2007/relationships/hdphoto" Target="../media/hdphoto1.wdp"/><Relationship Id="rId4" Type="http://schemas.openxmlformats.org/officeDocument/2006/relationships/image" Target="../media/image3.png"/><Relationship Id="rId9" Type="http://schemas.openxmlformats.org/officeDocument/2006/relationships/image" Target="../media/image40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jpeg"/><Relationship Id="rId3" Type="http://schemas.openxmlformats.org/officeDocument/2006/relationships/image" Target="../media/image2.png"/><Relationship Id="rId7" Type="http://schemas.openxmlformats.org/officeDocument/2006/relationships/image" Target="../media/image7.jpe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6.jpeg"/><Relationship Id="rId11" Type="http://schemas.openxmlformats.org/officeDocument/2006/relationships/image" Target="../media/image11.png"/><Relationship Id="rId5" Type="http://schemas.microsoft.com/office/2007/relationships/hdphoto" Target="../media/hdphoto1.wdp"/><Relationship Id="rId10" Type="http://schemas.openxmlformats.org/officeDocument/2006/relationships/image" Target="../media/image10.jpeg"/><Relationship Id="rId4" Type="http://schemas.openxmlformats.org/officeDocument/2006/relationships/image" Target="../media/image3.png"/><Relationship Id="rId9" Type="http://schemas.openxmlformats.org/officeDocument/2006/relationships/image" Target="../media/image9.png"/></Relationships>
</file>

<file path=ppt/slides/_rels/slide30.xml.rels><?xml version="1.0" encoding="UTF-8" standalone="yes"?>
<Relationships xmlns="http://schemas.openxmlformats.org/package/2006/relationships"><Relationship Id="rId8" Type="http://schemas.openxmlformats.org/officeDocument/2006/relationships/image" Target="../media/image41.png"/><Relationship Id="rId3" Type="http://schemas.openxmlformats.org/officeDocument/2006/relationships/image" Target="../media/image2.png"/><Relationship Id="rId7" Type="http://schemas.openxmlformats.org/officeDocument/2006/relationships/image" Target="../media/image24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6.png"/><Relationship Id="rId5" Type="http://schemas.microsoft.com/office/2007/relationships/hdphoto" Target="../media/hdphoto1.wdp"/><Relationship Id="rId4" Type="http://schemas.openxmlformats.org/officeDocument/2006/relationships/image" Target="../media/image3.png"/><Relationship Id="rId9" Type="http://schemas.openxmlformats.org/officeDocument/2006/relationships/image" Target="../media/image42.png"/></Relationships>
</file>

<file path=ppt/slides/_rels/slide3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3.png"/><Relationship Id="rId3" Type="http://schemas.openxmlformats.org/officeDocument/2006/relationships/image" Target="../media/image2.png"/><Relationship Id="rId7" Type="http://schemas.openxmlformats.org/officeDocument/2006/relationships/image" Target="../media/image24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6.png"/><Relationship Id="rId5" Type="http://schemas.microsoft.com/office/2007/relationships/hdphoto" Target="../media/hdphoto1.wdp"/><Relationship Id="rId4" Type="http://schemas.openxmlformats.org/officeDocument/2006/relationships/image" Target="../media/image3.png"/><Relationship Id="rId9" Type="http://schemas.openxmlformats.org/officeDocument/2006/relationships/image" Target="../media/image44.svg"/></Relationships>
</file>

<file path=ppt/slides/_rels/slide3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png"/><Relationship Id="rId3" Type="http://schemas.openxmlformats.org/officeDocument/2006/relationships/image" Target="../media/image45.png"/><Relationship Id="rId7" Type="http://schemas.openxmlformats.org/officeDocument/2006/relationships/image" Target="../media/image26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.xml"/><Relationship Id="rId6" Type="http://schemas.microsoft.com/office/2007/relationships/hdphoto" Target="../media/hdphoto1.wdp"/><Relationship Id="rId5" Type="http://schemas.openxmlformats.org/officeDocument/2006/relationships/image" Target="../media/image3.png"/><Relationship Id="rId10" Type="http://schemas.openxmlformats.org/officeDocument/2006/relationships/image" Target="../media/image47.png"/><Relationship Id="rId4" Type="http://schemas.openxmlformats.org/officeDocument/2006/relationships/image" Target="../media/image2.png"/><Relationship Id="rId9" Type="http://schemas.openxmlformats.org/officeDocument/2006/relationships/image" Target="../media/image46.png"/></Relationships>
</file>

<file path=ppt/slides/_rels/slide3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png"/><Relationship Id="rId3" Type="http://schemas.openxmlformats.org/officeDocument/2006/relationships/image" Target="../media/image4.png"/><Relationship Id="rId7" Type="http://schemas.openxmlformats.org/officeDocument/2006/relationships/image" Target="../media/image26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.xml"/><Relationship Id="rId6" Type="http://schemas.microsoft.com/office/2007/relationships/hdphoto" Target="../media/hdphoto1.wdp"/><Relationship Id="rId5" Type="http://schemas.openxmlformats.org/officeDocument/2006/relationships/image" Target="../media/image3.png"/><Relationship Id="rId4" Type="http://schemas.openxmlformats.org/officeDocument/2006/relationships/image" Target="../media/image2.png"/><Relationship Id="rId9" Type="http://schemas.openxmlformats.org/officeDocument/2006/relationships/image" Target="../media/image48.png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7" Type="http://schemas.openxmlformats.org/officeDocument/2006/relationships/image" Target="../media/image24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6.png"/><Relationship Id="rId5" Type="http://schemas.microsoft.com/office/2007/relationships/hdphoto" Target="../media/hdphoto1.wdp"/><Relationship Id="rId4" Type="http://schemas.openxmlformats.org/officeDocument/2006/relationships/image" Target="../media/image3.png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49.jpeg"/><Relationship Id="rId5" Type="http://schemas.microsoft.com/office/2007/relationships/hdphoto" Target="../media/hdphoto1.wdp"/><Relationship Id="rId4" Type="http://schemas.openxmlformats.org/officeDocument/2006/relationships/image" Target="../media/image3.png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7" Type="http://schemas.openxmlformats.org/officeDocument/2006/relationships/image" Target="../media/image50.jpe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49.jpeg"/><Relationship Id="rId5" Type="http://schemas.microsoft.com/office/2007/relationships/hdphoto" Target="../media/hdphoto1.wdp"/><Relationship Id="rId4" Type="http://schemas.openxmlformats.org/officeDocument/2006/relationships/image" Target="../media/image3.png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7" Type="http://schemas.openxmlformats.org/officeDocument/2006/relationships/image" Target="../media/image51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49.jpeg"/><Relationship Id="rId5" Type="http://schemas.microsoft.com/office/2007/relationships/hdphoto" Target="../media/hdphoto1.wdp"/><Relationship Id="rId4" Type="http://schemas.openxmlformats.org/officeDocument/2006/relationships/image" Target="../media/image3.png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7" Type="http://schemas.openxmlformats.org/officeDocument/2006/relationships/image" Target="../media/image52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49.jpeg"/><Relationship Id="rId5" Type="http://schemas.microsoft.com/office/2007/relationships/hdphoto" Target="../media/hdphoto1.wdp"/><Relationship Id="rId4" Type="http://schemas.openxmlformats.org/officeDocument/2006/relationships/image" Target="../media/image3.png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7" Type="http://schemas.openxmlformats.org/officeDocument/2006/relationships/image" Target="../media/image53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49.jpeg"/><Relationship Id="rId5" Type="http://schemas.microsoft.com/office/2007/relationships/hdphoto" Target="../media/hdphoto1.wdp"/><Relationship Id="rId4" Type="http://schemas.openxmlformats.org/officeDocument/2006/relationships/image" Target="../media/image3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7" Type="http://schemas.openxmlformats.org/officeDocument/2006/relationships/image" Target="../media/image13.jpe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2.jpeg"/><Relationship Id="rId5" Type="http://schemas.microsoft.com/office/2007/relationships/hdphoto" Target="../media/hdphoto1.wdp"/><Relationship Id="rId4" Type="http://schemas.openxmlformats.org/officeDocument/2006/relationships/image" Target="../media/image3.png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7" Type="http://schemas.openxmlformats.org/officeDocument/2006/relationships/image" Target="../media/image54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49.jpeg"/><Relationship Id="rId5" Type="http://schemas.microsoft.com/office/2007/relationships/hdphoto" Target="../media/hdphoto1.wdp"/><Relationship Id="rId4" Type="http://schemas.openxmlformats.org/officeDocument/2006/relationships/image" Target="../media/image3.png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7" Type="http://schemas.openxmlformats.org/officeDocument/2006/relationships/image" Target="../media/image5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49.jpeg"/><Relationship Id="rId5" Type="http://schemas.microsoft.com/office/2007/relationships/hdphoto" Target="../media/hdphoto1.wdp"/><Relationship Id="rId4" Type="http://schemas.openxmlformats.org/officeDocument/2006/relationships/image" Target="../media/image3.png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56.png"/><Relationship Id="rId5" Type="http://schemas.microsoft.com/office/2007/relationships/hdphoto" Target="../media/hdphoto1.wdp"/><Relationship Id="rId4" Type="http://schemas.openxmlformats.org/officeDocument/2006/relationships/image" Target="../media/image3.png"/></Relationships>
</file>

<file path=ppt/slides/_rels/slide4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8.png"/><Relationship Id="rId3" Type="http://schemas.openxmlformats.org/officeDocument/2006/relationships/image" Target="../media/image2.png"/><Relationship Id="rId7" Type="http://schemas.microsoft.com/office/2007/relationships/hdphoto" Target="../media/hdphoto8.wdp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57.png"/><Relationship Id="rId5" Type="http://schemas.microsoft.com/office/2007/relationships/hdphoto" Target="../media/hdphoto1.wdp"/><Relationship Id="rId10" Type="http://schemas.openxmlformats.org/officeDocument/2006/relationships/image" Target="../media/image59.png"/><Relationship Id="rId4" Type="http://schemas.openxmlformats.org/officeDocument/2006/relationships/image" Target="../media/image3.png"/><Relationship Id="rId9" Type="http://schemas.microsoft.com/office/2007/relationships/hdphoto" Target="../media/hdphoto9.wdp"/></Relationships>
</file>

<file path=ppt/slides/_rels/slide44.xml.rels><?xml version="1.0" encoding="UTF-8" standalone="yes"?>
<Relationships xmlns="http://schemas.openxmlformats.org/package/2006/relationships"><Relationship Id="rId8" Type="http://schemas.openxmlformats.org/officeDocument/2006/relationships/image" Target="../media/image58.png"/><Relationship Id="rId3" Type="http://schemas.openxmlformats.org/officeDocument/2006/relationships/image" Target="../media/image2.png"/><Relationship Id="rId7" Type="http://schemas.microsoft.com/office/2007/relationships/hdphoto" Target="../media/hdphoto8.wdp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57.png"/><Relationship Id="rId5" Type="http://schemas.microsoft.com/office/2007/relationships/hdphoto" Target="../media/hdphoto1.wdp"/><Relationship Id="rId10" Type="http://schemas.openxmlformats.org/officeDocument/2006/relationships/image" Target="../media/image60.png"/><Relationship Id="rId4" Type="http://schemas.openxmlformats.org/officeDocument/2006/relationships/image" Target="../media/image3.png"/><Relationship Id="rId9" Type="http://schemas.microsoft.com/office/2007/relationships/hdphoto" Target="../media/hdphoto9.wdp"/></Relationships>
</file>

<file path=ppt/slides/_rels/slide45.xml.rels><?xml version="1.0" encoding="UTF-8" standalone="yes"?>
<Relationships xmlns="http://schemas.openxmlformats.org/package/2006/relationships"><Relationship Id="rId8" Type="http://schemas.openxmlformats.org/officeDocument/2006/relationships/image" Target="../media/image58.png"/><Relationship Id="rId3" Type="http://schemas.openxmlformats.org/officeDocument/2006/relationships/image" Target="../media/image2.png"/><Relationship Id="rId7" Type="http://schemas.microsoft.com/office/2007/relationships/hdphoto" Target="../media/hdphoto8.wdp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57.png"/><Relationship Id="rId5" Type="http://schemas.microsoft.com/office/2007/relationships/hdphoto" Target="../media/hdphoto1.wdp"/><Relationship Id="rId10" Type="http://schemas.openxmlformats.org/officeDocument/2006/relationships/image" Target="../media/image61.png"/><Relationship Id="rId4" Type="http://schemas.openxmlformats.org/officeDocument/2006/relationships/image" Target="../media/image3.png"/><Relationship Id="rId9" Type="http://schemas.microsoft.com/office/2007/relationships/hdphoto" Target="../media/hdphoto9.wdp"/></Relationships>
</file>

<file path=ppt/slides/_rels/slide46.xml.rels><?xml version="1.0" encoding="UTF-8" standalone="yes"?>
<Relationships xmlns="http://schemas.openxmlformats.org/package/2006/relationships"><Relationship Id="rId8" Type="http://schemas.openxmlformats.org/officeDocument/2006/relationships/image" Target="../media/image58.png"/><Relationship Id="rId3" Type="http://schemas.openxmlformats.org/officeDocument/2006/relationships/image" Target="../media/image2.png"/><Relationship Id="rId7" Type="http://schemas.microsoft.com/office/2007/relationships/hdphoto" Target="../media/hdphoto8.wdp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57.png"/><Relationship Id="rId5" Type="http://schemas.microsoft.com/office/2007/relationships/hdphoto" Target="../media/hdphoto1.wdp"/><Relationship Id="rId10" Type="http://schemas.openxmlformats.org/officeDocument/2006/relationships/image" Target="../media/image62.png"/><Relationship Id="rId4" Type="http://schemas.openxmlformats.org/officeDocument/2006/relationships/image" Target="../media/image3.png"/><Relationship Id="rId9" Type="http://schemas.microsoft.com/office/2007/relationships/hdphoto" Target="../media/hdphoto9.wdp"/></Relationships>
</file>

<file path=ppt/slides/_rels/slide47.xml.rels><?xml version="1.0" encoding="UTF-8" standalone="yes"?>
<Relationships xmlns="http://schemas.openxmlformats.org/package/2006/relationships"><Relationship Id="rId8" Type="http://schemas.openxmlformats.org/officeDocument/2006/relationships/image" Target="../media/image58.png"/><Relationship Id="rId3" Type="http://schemas.openxmlformats.org/officeDocument/2006/relationships/image" Target="../media/image2.png"/><Relationship Id="rId7" Type="http://schemas.microsoft.com/office/2007/relationships/hdphoto" Target="../media/hdphoto8.wdp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57.png"/><Relationship Id="rId5" Type="http://schemas.microsoft.com/office/2007/relationships/hdphoto" Target="../media/hdphoto1.wdp"/><Relationship Id="rId10" Type="http://schemas.openxmlformats.org/officeDocument/2006/relationships/image" Target="../media/image63.png"/><Relationship Id="rId4" Type="http://schemas.openxmlformats.org/officeDocument/2006/relationships/image" Target="../media/image3.png"/><Relationship Id="rId9" Type="http://schemas.microsoft.com/office/2007/relationships/hdphoto" Target="../media/hdphoto9.wdp"/></Relationships>
</file>

<file path=ppt/slides/_rels/slide48.xml.rels><?xml version="1.0" encoding="UTF-8" standalone="yes"?>
<Relationships xmlns="http://schemas.openxmlformats.org/package/2006/relationships"><Relationship Id="rId8" Type="http://schemas.microsoft.com/office/2007/relationships/hdphoto" Target="../media/hdphoto8.wdp"/><Relationship Id="rId3" Type="http://schemas.openxmlformats.org/officeDocument/2006/relationships/image" Target="../media/image2.png"/><Relationship Id="rId7" Type="http://schemas.openxmlformats.org/officeDocument/2006/relationships/image" Target="../media/image57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64.png"/><Relationship Id="rId5" Type="http://schemas.microsoft.com/office/2007/relationships/hdphoto" Target="../media/hdphoto1.wdp"/><Relationship Id="rId10" Type="http://schemas.microsoft.com/office/2007/relationships/hdphoto" Target="../media/hdphoto9.wdp"/><Relationship Id="rId4" Type="http://schemas.openxmlformats.org/officeDocument/2006/relationships/image" Target="../media/image3.png"/><Relationship Id="rId9" Type="http://schemas.openxmlformats.org/officeDocument/2006/relationships/image" Target="../media/image58.png"/></Relationships>
</file>

<file path=ppt/slides/_rels/slide49.xml.rels><?xml version="1.0" encoding="UTF-8" standalone="yes"?>
<Relationships xmlns="http://schemas.openxmlformats.org/package/2006/relationships"><Relationship Id="rId8" Type="http://schemas.openxmlformats.org/officeDocument/2006/relationships/image" Target="../media/image58.png"/><Relationship Id="rId3" Type="http://schemas.openxmlformats.org/officeDocument/2006/relationships/image" Target="../media/image2.png"/><Relationship Id="rId7" Type="http://schemas.microsoft.com/office/2007/relationships/hdphoto" Target="../media/hdphoto8.wdp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57.png"/><Relationship Id="rId5" Type="http://schemas.microsoft.com/office/2007/relationships/hdphoto" Target="../media/hdphoto1.wdp"/><Relationship Id="rId10" Type="http://schemas.openxmlformats.org/officeDocument/2006/relationships/image" Target="../media/image65.png"/><Relationship Id="rId4" Type="http://schemas.openxmlformats.org/officeDocument/2006/relationships/image" Target="../media/image3.png"/><Relationship Id="rId9" Type="http://schemas.microsoft.com/office/2007/relationships/hdphoto" Target="../media/hdphoto9.wdp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.xml"/><Relationship Id="rId5" Type="http://schemas.microsoft.com/office/2007/relationships/hdphoto" Target="../media/hdphoto1.wdp"/><Relationship Id="rId4" Type="http://schemas.openxmlformats.org/officeDocument/2006/relationships/image" Target="../media/image3.png"/></Relationships>
</file>

<file path=ppt/slides/_rels/slide50.xml.rels><?xml version="1.0" encoding="UTF-8" standalone="yes"?>
<Relationships xmlns="http://schemas.openxmlformats.org/package/2006/relationships"><Relationship Id="rId8" Type="http://schemas.openxmlformats.org/officeDocument/2006/relationships/image" Target="../media/image58.png"/><Relationship Id="rId3" Type="http://schemas.openxmlformats.org/officeDocument/2006/relationships/image" Target="../media/image2.png"/><Relationship Id="rId7" Type="http://schemas.microsoft.com/office/2007/relationships/hdphoto" Target="../media/hdphoto8.wdp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57.png"/><Relationship Id="rId5" Type="http://schemas.microsoft.com/office/2007/relationships/hdphoto" Target="../media/hdphoto1.wdp"/><Relationship Id="rId10" Type="http://schemas.openxmlformats.org/officeDocument/2006/relationships/image" Target="../media/image66.png"/><Relationship Id="rId4" Type="http://schemas.openxmlformats.org/officeDocument/2006/relationships/image" Target="../media/image3.png"/><Relationship Id="rId9" Type="http://schemas.microsoft.com/office/2007/relationships/hdphoto" Target="../media/hdphoto9.wdp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67.png"/><Relationship Id="rId5" Type="http://schemas.microsoft.com/office/2007/relationships/hdphoto" Target="../media/hdphoto1.wdp"/><Relationship Id="rId4" Type="http://schemas.openxmlformats.org/officeDocument/2006/relationships/image" Target="../media/image3.png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7" Type="http://schemas.openxmlformats.org/officeDocument/2006/relationships/image" Target="../media/image67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68.png"/><Relationship Id="rId5" Type="http://schemas.microsoft.com/office/2007/relationships/hdphoto" Target="../media/hdphoto1.wdp"/><Relationship Id="rId4" Type="http://schemas.openxmlformats.org/officeDocument/2006/relationships/image" Target="../media/image3.png"/></Relationships>
</file>

<file path=ppt/slides/_rels/slide53.xml.rels><?xml version="1.0" encoding="UTF-8" standalone="yes"?>
<Relationships xmlns="http://schemas.openxmlformats.org/package/2006/relationships"><Relationship Id="rId8" Type="http://schemas.openxmlformats.org/officeDocument/2006/relationships/image" Target="../media/image70.jpeg"/><Relationship Id="rId3" Type="http://schemas.openxmlformats.org/officeDocument/2006/relationships/image" Target="../media/image2.png"/><Relationship Id="rId7" Type="http://schemas.openxmlformats.org/officeDocument/2006/relationships/image" Target="../media/image69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67.png"/><Relationship Id="rId5" Type="http://schemas.microsoft.com/office/2007/relationships/hdphoto" Target="../media/hdphoto1.wdp"/><Relationship Id="rId4" Type="http://schemas.openxmlformats.org/officeDocument/2006/relationships/image" Target="../media/image3.png"/></Relationships>
</file>

<file path=ppt/slides/_rels/slide54.xml.rels><?xml version="1.0" encoding="UTF-8" standalone="yes"?>
<Relationships xmlns="http://schemas.openxmlformats.org/package/2006/relationships"><Relationship Id="rId8" Type="http://schemas.openxmlformats.org/officeDocument/2006/relationships/image" Target="../media/image72.png"/><Relationship Id="rId3" Type="http://schemas.openxmlformats.org/officeDocument/2006/relationships/image" Target="../media/image2.png"/><Relationship Id="rId7" Type="http://schemas.openxmlformats.org/officeDocument/2006/relationships/image" Target="../media/image71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67.png"/><Relationship Id="rId5" Type="http://schemas.microsoft.com/office/2007/relationships/hdphoto" Target="../media/hdphoto1.wdp"/><Relationship Id="rId4" Type="http://schemas.openxmlformats.org/officeDocument/2006/relationships/image" Target="../media/image3.png"/></Relationships>
</file>

<file path=ppt/slides/_rels/slide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7" Type="http://schemas.openxmlformats.org/officeDocument/2006/relationships/image" Target="../media/image73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67.png"/><Relationship Id="rId5" Type="http://schemas.microsoft.com/office/2007/relationships/hdphoto" Target="../media/hdphoto1.wdp"/><Relationship Id="rId4" Type="http://schemas.openxmlformats.org/officeDocument/2006/relationships/image" Target="../media/image3.png"/></Relationships>
</file>

<file path=ppt/slides/_rels/slide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7" Type="http://schemas.openxmlformats.org/officeDocument/2006/relationships/image" Target="../media/image74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67.png"/><Relationship Id="rId5" Type="http://schemas.microsoft.com/office/2007/relationships/hdphoto" Target="../media/hdphoto1.wdp"/><Relationship Id="rId4" Type="http://schemas.openxmlformats.org/officeDocument/2006/relationships/image" Target="../media/image3.png"/></Relationships>
</file>

<file path=ppt/slides/_rels/slide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7" Type="http://schemas.openxmlformats.org/officeDocument/2006/relationships/image" Target="../media/image7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67.png"/><Relationship Id="rId5" Type="http://schemas.microsoft.com/office/2007/relationships/hdphoto" Target="../media/hdphoto1.wdp"/><Relationship Id="rId4" Type="http://schemas.openxmlformats.org/officeDocument/2006/relationships/image" Target="../media/image3.png"/></Relationships>
</file>

<file path=ppt/slides/_rels/slide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.xml"/><Relationship Id="rId5" Type="http://schemas.microsoft.com/office/2007/relationships/hdphoto" Target="../media/hdphoto1.wdp"/><Relationship Id="rId4" Type="http://schemas.openxmlformats.org/officeDocument/2006/relationships/image" Target="../media/image3.png"/></Relationships>
</file>

<file path=ppt/slides/_rels/slide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7" Type="http://schemas.openxmlformats.org/officeDocument/2006/relationships/image" Target="../media/image77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76.gif"/><Relationship Id="rId5" Type="http://schemas.microsoft.com/office/2007/relationships/hdphoto" Target="../media/hdphoto1.wdp"/><Relationship Id="rId4" Type="http://schemas.openxmlformats.org/officeDocument/2006/relationships/image" Target="../media/image3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4.png"/><Relationship Id="rId5" Type="http://schemas.microsoft.com/office/2007/relationships/hdphoto" Target="../media/hdphoto1.wdp"/><Relationship Id="rId4" Type="http://schemas.openxmlformats.org/officeDocument/2006/relationships/image" Target="../media/image3.png"/></Relationships>
</file>

<file path=ppt/slides/_rels/slide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7" Type="http://schemas.openxmlformats.org/officeDocument/2006/relationships/image" Target="../media/image79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78.png"/><Relationship Id="rId5" Type="http://schemas.microsoft.com/office/2007/relationships/hdphoto" Target="../media/hdphoto1.wdp"/><Relationship Id="rId4" Type="http://schemas.openxmlformats.org/officeDocument/2006/relationships/image" Target="../media/image3.png"/></Relationships>
</file>

<file path=ppt/slides/_rels/slide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0.jpeg"/><Relationship Id="rId7" Type="http://schemas.openxmlformats.org/officeDocument/2006/relationships/image" Target="../media/image79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.xml"/><Relationship Id="rId6" Type="http://schemas.microsoft.com/office/2007/relationships/hdphoto" Target="../media/hdphoto1.wdp"/><Relationship Id="rId5" Type="http://schemas.openxmlformats.org/officeDocument/2006/relationships/image" Target="../media/image3.png"/><Relationship Id="rId4" Type="http://schemas.openxmlformats.org/officeDocument/2006/relationships/image" Target="../media/image2.png"/></Relationships>
</file>

<file path=ppt/slides/_rels/slide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1.jpeg"/><Relationship Id="rId7" Type="http://schemas.openxmlformats.org/officeDocument/2006/relationships/image" Target="../media/image79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.xml"/><Relationship Id="rId6" Type="http://schemas.microsoft.com/office/2007/relationships/hdphoto" Target="../media/hdphoto1.wdp"/><Relationship Id="rId5" Type="http://schemas.openxmlformats.org/officeDocument/2006/relationships/image" Target="../media/image3.png"/><Relationship Id="rId4" Type="http://schemas.openxmlformats.org/officeDocument/2006/relationships/image" Target="../media/image2.png"/></Relationships>
</file>

<file path=ppt/slides/_rels/slide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2.jpeg"/><Relationship Id="rId7" Type="http://schemas.openxmlformats.org/officeDocument/2006/relationships/image" Target="../media/image79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.xml"/><Relationship Id="rId6" Type="http://schemas.microsoft.com/office/2007/relationships/hdphoto" Target="../media/hdphoto1.wdp"/><Relationship Id="rId5" Type="http://schemas.openxmlformats.org/officeDocument/2006/relationships/image" Target="../media/image3.png"/><Relationship Id="rId4" Type="http://schemas.openxmlformats.org/officeDocument/2006/relationships/image" Target="../media/image2.png"/></Relationships>
</file>

<file path=ppt/slides/_rels/slide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.xml"/><Relationship Id="rId5" Type="http://schemas.microsoft.com/office/2007/relationships/hdphoto" Target="../media/hdphoto1.wdp"/><Relationship Id="rId4" Type="http://schemas.openxmlformats.org/officeDocument/2006/relationships/image" Target="../media/image3.png"/></Relationships>
</file>

<file path=ppt/slides/_rels/slide65.xml.rels><?xml version="1.0" encoding="UTF-8" standalone="yes"?>
<Relationships xmlns="http://schemas.openxmlformats.org/package/2006/relationships"><Relationship Id="rId8" Type="http://schemas.openxmlformats.org/officeDocument/2006/relationships/image" Target="../media/image84.png"/><Relationship Id="rId3" Type="http://schemas.openxmlformats.org/officeDocument/2006/relationships/image" Target="../media/image2.png"/><Relationship Id="rId7" Type="http://schemas.openxmlformats.org/officeDocument/2006/relationships/image" Target="../media/image83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49.jpeg"/><Relationship Id="rId5" Type="http://schemas.microsoft.com/office/2007/relationships/hdphoto" Target="../media/hdphoto1.wdp"/><Relationship Id="rId4" Type="http://schemas.openxmlformats.org/officeDocument/2006/relationships/image" Target="../media/image3.png"/><Relationship Id="rId9" Type="http://schemas.openxmlformats.org/officeDocument/2006/relationships/image" Target="../media/image51.png"/></Relationships>
</file>

<file path=ppt/slides/_rels/slide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7" Type="http://schemas.openxmlformats.org/officeDocument/2006/relationships/image" Target="../media/image24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6.png"/><Relationship Id="rId5" Type="http://schemas.microsoft.com/office/2007/relationships/hdphoto" Target="../media/hdphoto1.wdp"/><Relationship Id="rId4" Type="http://schemas.openxmlformats.org/officeDocument/2006/relationships/image" Target="../media/image3.png"/></Relationships>
</file>

<file path=ppt/slides/_rels/slide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7" Type="http://schemas.openxmlformats.org/officeDocument/2006/relationships/image" Target="../media/image24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6.png"/><Relationship Id="rId5" Type="http://schemas.microsoft.com/office/2007/relationships/hdphoto" Target="../media/hdphoto1.wdp"/><Relationship Id="rId4" Type="http://schemas.openxmlformats.org/officeDocument/2006/relationships/image" Target="../media/image3.png"/></Relationships>
</file>

<file path=ppt/slides/_rels/slide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.xml"/><Relationship Id="rId5" Type="http://schemas.microsoft.com/office/2007/relationships/hdphoto" Target="../media/hdphoto1.wdp"/><Relationship Id="rId4" Type="http://schemas.openxmlformats.org/officeDocument/2006/relationships/image" Target="../media/image3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7" Type="http://schemas.microsoft.com/office/2007/relationships/hdphoto" Target="../media/hdphoto3.wdp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5.png"/><Relationship Id="rId5" Type="http://schemas.microsoft.com/office/2007/relationships/hdphoto" Target="../media/hdphoto1.wdp"/><Relationship Id="rId4" Type="http://schemas.openxmlformats.org/officeDocument/2006/relationships/image" Target="../media/image3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7" Type="http://schemas.openxmlformats.org/officeDocument/2006/relationships/image" Target="../media/image16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.xml"/><Relationship Id="rId6" Type="http://schemas.openxmlformats.org/officeDocument/2006/relationships/hyperlink" Target="https://www.youtube.com/watch?v=gBESTOYM0ik&amp;list=PLFuppb-V4HEktcBWw9WCGNMt6AcTIJADW&amp;index=76" TargetMode="External"/><Relationship Id="rId5" Type="http://schemas.microsoft.com/office/2007/relationships/hdphoto" Target="../media/hdphoto1.wdp"/><Relationship Id="rId4" Type="http://schemas.openxmlformats.org/officeDocument/2006/relationships/image" Target="../media/image3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youtube.com/watch?v=gBESTOYM0ik&amp;list=PLFuppb-V4HEktcBWw9WCGNMt6AcTIJADW&amp;index=76" TargetMode="External"/><Relationship Id="rId3" Type="http://schemas.openxmlformats.org/officeDocument/2006/relationships/slideLayout" Target="../slideLayouts/slideLayout1.xml"/><Relationship Id="rId7" Type="http://schemas.microsoft.com/office/2007/relationships/hdphoto" Target="../media/hdphoto1.wdp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6" Type="http://schemas.openxmlformats.org/officeDocument/2006/relationships/image" Target="../media/image3.png"/><Relationship Id="rId5" Type="http://schemas.openxmlformats.org/officeDocument/2006/relationships/image" Target="../media/image2.png"/><Relationship Id="rId10" Type="http://schemas.openxmlformats.org/officeDocument/2006/relationships/image" Target="../media/image17.png"/><Relationship Id="rId4" Type="http://schemas.openxmlformats.org/officeDocument/2006/relationships/image" Target="../media/image4.png"/><Relationship Id="rId9" Type="http://schemas.openxmlformats.org/officeDocument/2006/relationships/image" Target="../media/image16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 t="-9000" b="-9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m 3" descr="Interface gráfica do usuário&#10;&#10;O conteúdo gerado por IA pode estar incorreto.">
            <a:extLst>
              <a:ext uri="{FF2B5EF4-FFF2-40B4-BE49-F238E27FC236}">
                <a16:creationId xmlns:a16="http://schemas.microsoft.com/office/drawing/2014/main" id="{7A66D734-3781-710B-5B88-EC7EA090F36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6447" y="248306"/>
            <a:ext cx="1371600" cy="561358"/>
          </a:xfrm>
          <a:prstGeom prst="rect">
            <a:avLst/>
          </a:prstGeom>
        </p:spPr>
      </p:pic>
      <p:pic>
        <p:nvPicPr>
          <p:cNvPr id="5" name="Picture 2" descr="logo claro PNG &amp; clipart images | Citypng">
            <a:extLst>
              <a:ext uri="{FF2B5EF4-FFF2-40B4-BE49-F238E27FC236}">
                <a16:creationId xmlns:a16="http://schemas.microsoft.com/office/drawing/2014/main" id="{B472EC64-8892-CCE1-252E-26E1D8D5F356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ackgroundRemoval t="8875" b="90500" l="9625" r="90375">
                        <a14:foregroundMark x1="35125" y1="42750" x2="35125" y2="42750"/>
                        <a14:foregroundMark x1="35250" y1="45125" x2="33750" y2="54125"/>
                        <a14:foregroundMark x1="33750" y1="54125" x2="41375" y2="48750"/>
                        <a14:foregroundMark x1="41375" y1="48750" x2="36875" y2="40375"/>
                        <a14:foregroundMark x1="36875" y1="40375" x2="31375" y2="43625"/>
                        <a14:foregroundMark x1="22000" y1="41875" x2="12375" y2="50500"/>
                        <a14:foregroundMark x1="12375" y1="50500" x2="25625" y2="62375"/>
                        <a14:foregroundMark x1="25625" y1="62375" x2="52750" y2="64125"/>
                        <a14:foregroundMark x1="52750" y1="64125" x2="73500" y2="62500"/>
                        <a14:foregroundMark x1="73500" y1="62500" x2="87375" y2="56375"/>
                        <a14:foregroundMark x1="87375" y1="56375" x2="87125" y2="45625"/>
                        <a14:foregroundMark x1="87125" y1="45625" x2="84625" y2="37625"/>
                        <a14:foregroundMark x1="84625" y1="37625" x2="76500" y2="32125"/>
                        <a14:foregroundMark x1="76500" y1="32125" x2="57500" y2="27250"/>
                        <a14:foregroundMark x1="57500" y1="27250" x2="20250" y2="28750"/>
                        <a14:foregroundMark x1="20250" y1="28750" x2="15750" y2="38375"/>
                        <a14:foregroundMark x1="15750" y1="38375" x2="12250" y2="41125"/>
                        <a14:foregroundMark x1="28375" y1="36125" x2="17625" y2="48125"/>
                        <a14:foregroundMark x1="17625" y1="48125" x2="23875" y2="57625"/>
                        <a14:foregroundMark x1="23875" y1="57625" x2="34500" y2="44000"/>
                        <a14:foregroundMark x1="34500" y1="44000" x2="21250" y2="39375"/>
                        <a14:foregroundMark x1="21250" y1="39375" x2="19250" y2="41250"/>
                        <a14:foregroundMark x1="26250" y1="40250" x2="27375" y2="52750"/>
                        <a14:foregroundMark x1="27375" y1="52750" x2="28875" y2="40125"/>
                        <a14:foregroundMark x1="28875" y1="40125" x2="18750" y2="45500"/>
                        <a14:foregroundMark x1="18750" y1="45500" x2="20750" y2="48625"/>
                        <a14:foregroundMark x1="26875" y1="40625" x2="27375" y2="58250"/>
                        <a14:foregroundMark x1="27375" y1="58250" x2="30625" y2="48375"/>
                        <a14:foregroundMark x1="30625" y1="48375" x2="20375" y2="51125"/>
                        <a14:foregroundMark x1="20375" y1="51125" x2="20375" y2="52375"/>
                        <a14:foregroundMark x1="19125" y1="42500" x2="25500" y2="55125"/>
                        <a14:foregroundMark x1="25500" y1="55125" x2="25125" y2="59500"/>
                        <a14:foregroundMark x1="22250" y1="56750" x2="21750" y2="58125"/>
                        <a14:foregroundMark x1="38500" y1="39875" x2="29750" y2="53250"/>
                        <a14:foregroundMark x1="29750" y1="53250" x2="34875" y2="62125"/>
                        <a14:foregroundMark x1="34875" y1="62125" x2="39750" y2="49375"/>
                        <a14:foregroundMark x1="39750" y1="49375" x2="36125" y2="43000"/>
                        <a14:foregroundMark x1="43375" y1="42375" x2="41000" y2="60750"/>
                        <a14:foregroundMark x1="41000" y1="60750" x2="51625" y2="47750"/>
                        <a14:foregroundMark x1="51625" y1="47750" x2="43375" y2="46875"/>
                        <a14:foregroundMark x1="43375" y1="46875" x2="41375" y2="48000"/>
                        <a14:foregroundMark x1="47125" y1="50750" x2="48375" y2="59000"/>
                        <a14:foregroundMark x1="48375" y1="59000" x2="45125" y2="53500"/>
                        <a14:foregroundMark x1="53625" y1="43250" x2="52125" y2="50125"/>
                        <a14:foregroundMark x1="52125" y1="50125" x2="54125" y2="58375"/>
                        <a14:foregroundMark x1="54125" y1="58375" x2="58125" y2="50500"/>
                        <a14:foregroundMark x1="58125" y1="50500" x2="53250" y2="45125"/>
                        <a14:foregroundMark x1="53250" y1="45125" x2="51500" y2="45375"/>
                        <a14:foregroundMark x1="58625" y1="42000" x2="59750" y2="52125"/>
                        <a14:foregroundMark x1="59750" y1="52125" x2="57750" y2="45000"/>
                        <a14:foregroundMark x1="63000" y1="45375" x2="61000" y2="62375"/>
                        <a14:foregroundMark x1="61000" y1="62375" x2="73375" y2="56375"/>
                        <a14:foregroundMark x1="73375" y1="56375" x2="72000" y2="45625"/>
                        <a14:foregroundMark x1="72000" y1="45625" x2="64375" y2="43500"/>
                        <a14:foregroundMark x1="64375" y1="43500" x2="61750" y2="33375"/>
                        <a14:foregroundMark x1="61750" y1="33375" x2="72625" y2="31250"/>
                        <a14:foregroundMark x1="72625" y1="31250" x2="67750" y2="44000"/>
                        <a14:foregroundMark x1="67750" y1="44000" x2="73125" y2="38125"/>
                        <a14:foregroundMark x1="73125" y1="38125" x2="81750" y2="37125"/>
                        <a14:foregroundMark x1="81750" y1="37125" x2="77625" y2="50250"/>
                        <a14:foregroundMark x1="77625" y1="50250" x2="81750" y2="52375"/>
                        <a14:foregroundMark x1="68875" y1="31750" x2="67125" y2="43250"/>
                        <a14:foregroundMark x1="67125" y1="43250" x2="69125" y2="34625"/>
                        <a14:foregroundMark x1="78750" y1="32500" x2="75250" y2="44500"/>
                        <a14:foregroundMark x1="75250" y1="44500" x2="79875" y2="36750"/>
                        <a14:foregroundMark x1="79875" y1="36750" x2="76875" y2="36375"/>
                        <a14:foregroundMark x1="78750" y1="46625" x2="80125" y2="55500"/>
                        <a14:foregroundMark x1="80125" y1="55500" x2="80750" y2="46125"/>
                        <a14:foregroundMark x1="80750" y1="46125" x2="77750" y2="45875"/>
                        <a14:foregroundMark x1="90375" y1="44000" x2="88750" y2="56375"/>
                        <a14:foregroundMark x1="45750" y1="10250" x2="57875" y2="11500"/>
                        <a14:foregroundMark x1="54125" y1="8875" x2="53500" y2="9125"/>
                        <a14:foregroundMark x1="49500" y1="90500" x2="54125" y2="89500"/>
                        <a14:foregroundMark x1="9625" y1="49625" x2="11000" y2="47125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3256" t="7288" r="7881" b="3666"/>
          <a:stretch>
            <a:fillRect/>
          </a:stretch>
        </p:blipFill>
        <p:spPr bwMode="auto">
          <a:xfrm>
            <a:off x="11238614" y="5890437"/>
            <a:ext cx="733648" cy="7351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7469958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046D6699-0BA1-4A22-E739-2BB5EEE6970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m 2" descr="Interface gráfica do usuário&#10;&#10;O conteúdo gerado por IA pode estar incorreto.">
            <a:extLst>
              <a:ext uri="{FF2B5EF4-FFF2-40B4-BE49-F238E27FC236}">
                <a16:creationId xmlns:a16="http://schemas.microsoft.com/office/drawing/2014/main" id="{E18D9CA0-18A8-FEB6-EF49-62B0EB7D646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6447" y="248306"/>
            <a:ext cx="1371600" cy="561358"/>
          </a:xfrm>
          <a:prstGeom prst="rect">
            <a:avLst/>
          </a:prstGeom>
        </p:spPr>
      </p:pic>
      <p:pic>
        <p:nvPicPr>
          <p:cNvPr id="1026" name="Picture 2" descr="logo claro PNG &amp; clipart images | Citypng">
            <a:extLst>
              <a:ext uri="{FF2B5EF4-FFF2-40B4-BE49-F238E27FC236}">
                <a16:creationId xmlns:a16="http://schemas.microsoft.com/office/drawing/2014/main" id="{AF2F90F9-93B4-D0FE-741A-57B7E3556EAC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ackgroundRemoval t="8875" b="90500" l="9625" r="90375">
                        <a14:foregroundMark x1="35125" y1="42750" x2="35125" y2="42750"/>
                        <a14:foregroundMark x1="35250" y1="45125" x2="33750" y2="54125"/>
                        <a14:foregroundMark x1="33750" y1="54125" x2="41375" y2="48750"/>
                        <a14:foregroundMark x1="41375" y1="48750" x2="36875" y2="40375"/>
                        <a14:foregroundMark x1="36875" y1="40375" x2="31375" y2="43625"/>
                        <a14:foregroundMark x1="22000" y1="41875" x2="12375" y2="50500"/>
                        <a14:foregroundMark x1="12375" y1="50500" x2="25625" y2="62375"/>
                        <a14:foregroundMark x1="25625" y1="62375" x2="52750" y2="64125"/>
                        <a14:foregroundMark x1="52750" y1="64125" x2="73500" y2="62500"/>
                        <a14:foregroundMark x1="73500" y1="62500" x2="87375" y2="56375"/>
                        <a14:foregroundMark x1="87375" y1="56375" x2="87125" y2="45625"/>
                        <a14:foregroundMark x1="87125" y1="45625" x2="84625" y2="37625"/>
                        <a14:foregroundMark x1="84625" y1="37625" x2="76500" y2="32125"/>
                        <a14:foregroundMark x1="76500" y1="32125" x2="57500" y2="27250"/>
                        <a14:foregroundMark x1="57500" y1="27250" x2="20250" y2="28750"/>
                        <a14:foregroundMark x1="20250" y1="28750" x2="15750" y2="38375"/>
                        <a14:foregroundMark x1="15750" y1="38375" x2="12250" y2="41125"/>
                        <a14:foregroundMark x1="28375" y1="36125" x2="17625" y2="48125"/>
                        <a14:foregroundMark x1="17625" y1="48125" x2="23875" y2="57625"/>
                        <a14:foregroundMark x1="23875" y1="57625" x2="34500" y2="44000"/>
                        <a14:foregroundMark x1="34500" y1="44000" x2="21250" y2="39375"/>
                        <a14:foregroundMark x1="21250" y1="39375" x2="19250" y2="41250"/>
                        <a14:foregroundMark x1="26250" y1="40250" x2="27375" y2="52750"/>
                        <a14:foregroundMark x1="27375" y1="52750" x2="28875" y2="40125"/>
                        <a14:foregroundMark x1="28875" y1="40125" x2="18750" y2="45500"/>
                        <a14:foregroundMark x1="18750" y1="45500" x2="20750" y2="48625"/>
                        <a14:foregroundMark x1="26875" y1="40625" x2="27375" y2="58250"/>
                        <a14:foregroundMark x1="27375" y1="58250" x2="30625" y2="48375"/>
                        <a14:foregroundMark x1="30625" y1="48375" x2="20375" y2="51125"/>
                        <a14:foregroundMark x1="20375" y1="51125" x2="20375" y2="52375"/>
                        <a14:foregroundMark x1="19125" y1="42500" x2="25500" y2="55125"/>
                        <a14:foregroundMark x1="25500" y1="55125" x2="25125" y2="59500"/>
                        <a14:foregroundMark x1="22250" y1="56750" x2="21750" y2="58125"/>
                        <a14:foregroundMark x1="38500" y1="39875" x2="29750" y2="53250"/>
                        <a14:foregroundMark x1="29750" y1="53250" x2="34875" y2="62125"/>
                        <a14:foregroundMark x1="34875" y1="62125" x2="39750" y2="49375"/>
                        <a14:foregroundMark x1="39750" y1="49375" x2="36125" y2="43000"/>
                        <a14:foregroundMark x1="43375" y1="42375" x2="41000" y2="60750"/>
                        <a14:foregroundMark x1="41000" y1="60750" x2="51625" y2="47750"/>
                        <a14:foregroundMark x1="51625" y1="47750" x2="43375" y2="46875"/>
                        <a14:foregroundMark x1="43375" y1="46875" x2="41375" y2="48000"/>
                        <a14:foregroundMark x1="47125" y1="50750" x2="48375" y2="59000"/>
                        <a14:foregroundMark x1="48375" y1="59000" x2="45125" y2="53500"/>
                        <a14:foregroundMark x1="53625" y1="43250" x2="52125" y2="50125"/>
                        <a14:foregroundMark x1="52125" y1="50125" x2="54125" y2="58375"/>
                        <a14:foregroundMark x1="54125" y1="58375" x2="58125" y2="50500"/>
                        <a14:foregroundMark x1="58125" y1="50500" x2="53250" y2="45125"/>
                        <a14:foregroundMark x1="53250" y1="45125" x2="51500" y2="45375"/>
                        <a14:foregroundMark x1="58625" y1="42000" x2="59750" y2="52125"/>
                        <a14:foregroundMark x1="59750" y1="52125" x2="57750" y2="45000"/>
                        <a14:foregroundMark x1="63000" y1="45375" x2="61000" y2="62375"/>
                        <a14:foregroundMark x1="61000" y1="62375" x2="73375" y2="56375"/>
                        <a14:foregroundMark x1="73375" y1="56375" x2="72000" y2="45625"/>
                        <a14:foregroundMark x1="72000" y1="45625" x2="64375" y2="43500"/>
                        <a14:foregroundMark x1="64375" y1="43500" x2="61750" y2="33375"/>
                        <a14:foregroundMark x1="61750" y1="33375" x2="72625" y2="31250"/>
                        <a14:foregroundMark x1="72625" y1="31250" x2="67750" y2="44000"/>
                        <a14:foregroundMark x1="67750" y1="44000" x2="73125" y2="38125"/>
                        <a14:foregroundMark x1="73125" y1="38125" x2="81750" y2="37125"/>
                        <a14:foregroundMark x1="81750" y1="37125" x2="77625" y2="50250"/>
                        <a14:foregroundMark x1="77625" y1="50250" x2="81750" y2="52375"/>
                        <a14:foregroundMark x1="68875" y1="31750" x2="67125" y2="43250"/>
                        <a14:foregroundMark x1="67125" y1="43250" x2="69125" y2="34625"/>
                        <a14:foregroundMark x1="78750" y1="32500" x2="75250" y2="44500"/>
                        <a14:foregroundMark x1="75250" y1="44500" x2="79875" y2="36750"/>
                        <a14:foregroundMark x1="79875" y1="36750" x2="76875" y2="36375"/>
                        <a14:foregroundMark x1="78750" y1="46625" x2="80125" y2="55500"/>
                        <a14:foregroundMark x1="80125" y1="55500" x2="80750" y2="46125"/>
                        <a14:foregroundMark x1="80750" y1="46125" x2="77750" y2="45875"/>
                        <a14:foregroundMark x1="90375" y1="44000" x2="88750" y2="56375"/>
                        <a14:foregroundMark x1="45750" y1="10250" x2="57875" y2="11500"/>
                        <a14:foregroundMark x1="54125" y1="8875" x2="53500" y2="9125"/>
                        <a14:foregroundMark x1="49500" y1="90500" x2="54125" y2="89500"/>
                        <a14:foregroundMark x1="9625" y1="49625" x2="11000" y2="47125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3256" t="7288" r="7881" b="3666"/>
          <a:stretch>
            <a:fillRect/>
          </a:stretch>
        </p:blipFill>
        <p:spPr bwMode="auto">
          <a:xfrm>
            <a:off x="11238614" y="5890437"/>
            <a:ext cx="733648" cy="7351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CaixaDeTexto 1">
            <a:extLst>
              <a:ext uri="{FF2B5EF4-FFF2-40B4-BE49-F238E27FC236}">
                <a16:creationId xmlns:a16="http://schemas.microsoft.com/office/drawing/2014/main" id="{45182163-BCC9-7D2F-3B5F-D9CB45507BDE}"/>
              </a:ext>
            </a:extLst>
          </p:cNvPr>
          <p:cNvSpPr txBox="1"/>
          <p:nvPr/>
        </p:nvSpPr>
        <p:spPr>
          <a:xfrm>
            <a:off x="2246064" y="440332"/>
            <a:ext cx="736482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>
              <a:spcBef>
                <a:spcPts val="1200"/>
              </a:spcBef>
            </a:pPr>
            <a:r>
              <a:rPr lang="da-DK" sz="2000" b="1" i="1" dirty="0">
                <a:solidFill>
                  <a:schemeClr val="bg1">
                    <a:lumMod val="95000"/>
                  </a:schemeClr>
                </a:solidFill>
                <a:latin typeface="Candara" panose="020E0502030303020204" pitchFamily="34" charset="0"/>
                <a:ea typeface="Quattrocento Sans"/>
                <a:cs typeface="Times New Roman" panose="02020603050405020304" pitchFamily="18" charset="0"/>
                <a:sym typeface="Quattrocento Sans"/>
              </a:rPr>
              <a:t>Lâmpada Inteligente E27 TGB Wi-Fi Geonav</a:t>
            </a:r>
          </a:p>
        </p:txBody>
      </p:sp>
      <p:pic>
        <p:nvPicPr>
          <p:cNvPr id="20" name="Imagem 19">
            <a:hlinkClick r:id="rId6"/>
            <a:extLst>
              <a:ext uri="{FF2B5EF4-FFF2-40B4-BE49-F238E27FC236}">
                <a16:creationId xmlns:a16="http://schemas.microsoft.com/office/drawing/2014/main" id="{912D8AE0-4CBF-5C05-8FF8-78284B8FCA6F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 rot="328715">
            <a:off x="11101564" y="166786"/>
            <a:ext cx="594251" cy="947200"/>
          </a:xfrm>
          <a:prstGeom prst="rect">
            <a:avLst/>
          </a:prstGeom>
        </p:spPr>
      </p:pic>
      <p:sp>
        <p:nvSpPr>
          <p:cNvPr id="4" name="CaixaDeTexto 3">
            <a:extLst>
              <a:ext uri="{FF2B5EF4-FFF2-40B4-BE49-F238E27FC236}">
                <a16:creationId xmlns:a16="http://schemas.microsoft.com/office/drawing/2014/main" id="{F649C663-DD0A-4423-31D6-21D28302E5BA}"/>
              </a:ext>
            </a:extLst>
          </p:cNvPr>
          <p:cNvSpPr txBox="1"/>
          <p:nvPr/>
        </p:nvSpPr>
        <p:spPr>
          <a:xfrm>
            <a:off x="2950587" y="5919466"/>
            <a:ext cx="629082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Bef>
                <a:spcPts val="1200"/>
              </a:spcBef>
              <a:buClr>
                <a:srgbClr val="562B35"/>
              </a:buClr>
            </a:pPr>
            <a:r>
              <a:rPr lang="pt-BR" sz="1600" dirty="0">
                <a:solidFill>
                  <a:srgbClr val="FFC000"/>
                </a:solidFill>
                <a:latin typeface="Candara" panose="020E0502030303020204" pitchFamily="34" charset="0"/>
                <a:ea typeface="Quattrocento Sans"/>
                <a:cs typeface="Segoe UI" panose="020B0502040204020203" pitchFamily="34" charset="0"/>
                <a:sym typeface="Quattrocento Sans"/>
              </a:rPr>
              <a:t>Compatível com os programas Google </a:t>
            </a:r>
            <a:r>
              <a:rPr lang="pt-BR" sz="1600" dirty="0" err="1">
                <a:solidFill>
                  <a:srgbClr val="FFC000"/>
                </a:solidFill>
                <a:latin typeface="Candara" panose="020E0502030303020204" pitchFamily="34" charset="0"/>
                <a:ea typeface="Quattrocento Sans"/>
                <a:cs typeface="Segoe UI" panose="020B0502040204020203" pitchFamily="34" charset="0"/>
                <a:sym typeface="Quattrocento Sans"/>
              </a:rPr>
              <a:t>Assistant</a:t>
            </a:r>
            <a:r>
              <a:rPr lang="pt-BR" sz="1600" dirty="0">
                <a:solidFill>
                  <a:srgbClr val="FFC000"/>
                </a:solidFill>
                <a:latin typeface="Candara" panose="020E0502030303020204" pitchFamily="34" charset="0"/>
                <a:ea typeface="Quattrocento Sans"/>
                <a:cs typeface="Segoe UI" panose="020B0502040204020203" pitchFamily="34" charset="0"/>
                <a:sym typeface="Quattrocento Sans"/>
              </a:rPr>
              <a:t>, Siri e </a:t>
            </a:r>
            <a:r>
              <a:rPr lang="pt-BR" sz="1600" dirty="0" err="1">
                <a:solidFill>
                  <a:srgbClr val="FFC000"/>
                </a:solidFill>
                <a:latin typeface="Candara" panose="020E0502030303020204" pitchFamily="34" charset="0"/>
                <a:ea typeface="Quattrocento Sans"/>
                <a:cs typeface="Segoe UI" panose="020B0502040204020203" pitchFamily="34" charset="0"/>
                <a:sym typeface="Quattrocento Sans"/>
              </a:rPr>
              <a:t>Amazon</a:t>
            </a:r>
            <a:r>
              <a:rPr lang="pt-BR" sz="1600" dirty="0">
                <a:solidFill>
                  <a:srgbClr val="FFC000"/>
                </a:solidFill>
                <a:latin typeface="Candara" panose="020E0502030303020204" pitchFamily="34" charset="0"/>
                <a:ea typeface="Quattrocento Sans"/>
                <a:cs typeface="Segoe UI" panose="020B0502040204020203" pitchFamily="34" charset="0"/>
                <a:sym typeface="Quattrocento Sans"/>
              </a:rPr>
              <a:t> </a:t>
            </a:r>
            <a:r>
              <a:rPr lang="pt-BR" sz="1600" dirty="0" err="1">
                <a:solidFill>
                  <a:srgbClr val="FFC000"/>
                </a:solidFill>
                <a:latin typeface="Candara" panose="020E0502030303020204" pitchFamily="34" charset="0"/>
                <a:ea typeface="Quattrocento Sans"/>
                <a:cs typeface="Segoe UI" panose="020B0502040204020203" pitchFamily="34" charset="0"/>
                <a:sym typeface="Quattrocento Sans"/>
              </a:rPr>
              <a:t>Alexa</a:t>
            </a:r>
            <a:r>
              <a:rPr lang="pt-BR" sz="1600" dirty="0">
                <a:solidFill>
                  <a:srgbClr val="FFC000"/>
                </a:solidFill>
                <a:latin typeface="Candara" panose="020E0502030303020204" pitchFamily="34" charset="0"/>
                <a:ea typeface="Quattrocento Sans"/>
                <a:cs typeface="Segoe UI" panose="020B0502040204020203" pitchFamily="34" charset="0"/>
                <a:sym typeface="Quattrocento Sans"/>
              </a:rPr>
              <a:t>.</a:t>
            </a:r>
          </a:p>
        </p:txBody>
      </p:sp>
      <p:sp>
        <p:nvSpPr>
          <p:cNvPr id="5" name="CaixaDeTexto 4">
            <a:extLst>
              <a:ext uri="{FF2B5EF4-FFF2-40B4-BE49-F238E27FC236}">
                <a16:creationId xmlns:a16="http://schemas.microsoft.com/office/drawing/2014/main" id="{D304033C-0134-0794-6478-387A0053BF11}"/>
              </a:ext>
            </a:extLst>
          </p:cNvPr>
          <p:cNvSpPr txBox="1"/>
          <p:nvPr/>
        </p:nvSpPr>
        <p:spPr>
          <a:xfrm>
            <a:off x="2246064" y="1191922"/>
            <a:ext cx="7364823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Bef>
                <a:spcPts val="1200"/>
              </a:spcBef>
            </a:pPr>
            <a:r>
              <a:rPr lang="pt-BR" sz="1600" dirty="0">
                <a:solidFill>
                  <a:srgbClr val="FFC000"/>
                </a:solidFill>
                <a:latin typeface="Candara" panose="020E0502030303020204" pitchFamily="34" charset="0"/>
                <a:ea typeface="Quattrocento Sans"/>
                <a:cs typeface="Segoe UI" panose="020B0502040204020203" pitchFamily="34" charset="0"/>
                <a:sym typeface="Quattrocento Sans"/>
              </a:rPr>
              <a:t>A Lâmpada Inteligente Wi-Fi permite controlar a iluminação de </a:t>
            </a:r>
            <a:br>
              <a:rPr lang="pt-BR" sz="1600" dirty="0">
                <a:solidFill>
                  <a:srgbClr val="FFC000"/>
                </a:solidFill>
                <a:latin typeface="Candara" panose="020E0502030303020204" pitchFamily="34" charset="0"/>
                <a:ea typeface="Quattrocento Sans"/>
                <a:cs typeface="Segoe UI" panose="020B0502040204020203" pitchFamily="34" charset="0"/>
                <a:sym typeface="Quattrocento Sans"/>
              </a:rPr>
            </a:br>
            <a:r>
              <a:rPr lang="pt-BR" sz="1600" dirty="0">
                <a:solidFill>
                  <a:srgbClr val="FFC000"/>
                </a:solidFill>
                <a:latin typeface="Candara" panose="020E0502030303020204" pitchFamily="34" charset="0"/>
                <a:ea typeface="Quattrocento Sans"/>
                <a:cs typeface="Segoe UI" panose="020B0502040204020203" pitchFamily="34" charset="0"/>
                <a:sym typeface="Quattrocento Sans"/>
              </a:rPr>
              <a:t>um cômodo, escritório ou qualquer ambiente remotamente. </a:t>
            </a:r>
          </a:p>
        </p:txBody>
      </p:sp>
      <p:sp>
        <p:nvSpPr>
          <p:cNvPr id="6" name="CaixaDeTexto 5">
            <a:extLst>
              <a:ext uri="{FF2B5EF4-FFF2-40B4-BE49-F238E27FC236}">
                <a16:creationId xmlns:a16="http://schemas.microsoft.com/office/drawing/2014/main" id="{EA4949C6-AAD7-C922-3164-08AFB9AEA073}"/>
              </a:ext>
            </a:extLst>
          </p:cNvPr>
          <p:cNvSpPr txBox="1"/>
          <p:nvPr/>
        </p:nvSpPr>
        <p:spPr>
          <a:xfrm>
            <a:off x="1940560" y="2957671"/>
            <a:ext cx="2633830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60000" lvl="0" indent="-360000">
              <a:spcBef>
                <a:spcPts val="600"/>
              </a:spcBef>
              <a:buClr>
                <a:srgbClr val="562B35"/>
              </a:buClr>
              <a:buFont typeface="Arial" panose="020B0604020202020204" pitchFamily="34" charset="0"/>
              <a:buChar char="•"/>
            </a:pPr>
            <a:r>
              <a:rPr lang="pt-BR" dirty="0">
                <a:solidFill>
                  <a:srgbClr val="FFC000"/>
                </a:solidFill>
                <a:latin typeface="Candara" panose="020E0502030303020204" pitchFamily="34" charset="0"/>
                <a:ea typeface="Quattrocento Sans"/>
                <a:cs typeface="Segoe UI" panose="020B0502040204020203" pitchFamily="34" charset="0"/>
                <a:sym typeface="Quattrocento Sans"/>
              </a:rPr>
              <a:t>Acende, apaga, dimeriza, troca de cor, varia do branco quente ao branco frio e pode ser comandada por aplicativo ou por voz via assistente.</a:t>
            </a:r>
          </a:p>
        </p:txBody>
      </p:sp>
      <p:sp>
        <p:nvSpPr>
          <p:cNvPr id="7" name="CaixaDeTexto 6">
            <a:extLst>
              <a:ext uri="{FF2B5EF4-FFF2-40B4-BE49-F238E27FC236}">
                <a16:creationId xmlns:a16="http://schemas.microsoft.com/office/drawing/2014/main" id="{D467D1CC-D712-3F8A-EA22-40182D468DA9}"/>
              </a:ext>
            </a:extLst>
          </p:cNvPr>
          <p:cNvSpPr txBox="1"/>
          <p:nvPr/>
        </p:nvSpPr>
        <p:spPr>
          <a:xfrm>
            <a:off x="6169208" y="2142038"/>
            <a:ext cx="6144410" cy="29392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spcBef>
                <a:spcPts val="600"/>
              </a:spcBef>
              <a:buClr>
                <a:srgbClr val="562B35"/>
              </a:buClr>
            </a:pPr>
            <a:r>
              <a:rPr lang="pt-BR" sz="2000" b="1" dirty="0">
                <a:solidFill>
                  <a:schemeClr val="bg1">
                    <a:lumMod val="95000"/>
                  </a:schemeClr>
                </a:solidFill>
                <a:latin typeface="Candara" panose="020E0502030303020204" pitchFamily="34" charset="0"/>
                <a:ea typeface="Quattrocento Sans"/>
                <a:cs typeface="Segoe UI" panose="020B0502040204020203" pitchFamily="34" charset="0"/>
                <a:sym typeface="Quattrocento Sans"/>
              </a:rPr>
              <a:t>Características e possibilidades:</a:t>
            </a:r>
          </a:p>
          <a:p>
            <a:pPr marL="360000" lvl="0" indent="-360000">
              <a:spcBef>
                <a:spcPts val="600"/>
              </a:spcBef>
              <a:spcAft>
                <a:spcPts val="600"/>
              </a:spcAft>
              <a:buClr>
                <a:srgbClr val="F1F1F3"/>
              </a:buClr>
              <a:buFont typeface="Arial" panose="020B0604020202020204" pitchFamily="34" charset="0"/>
              <a:buChar char="•"/>
            </a:pPr>
            <a:r>
              <a:rPr lang="pt-BR" sz="2000" dirty="0">
                <a:solidFill>
                  <a:srgbClr val="FFC000"/>
                </a:solidFill>
                <a:latin typeface="Candara" panose="020E0502030303020204" pitchFamily="34" charset="0"/>
                <a:ea typeface="Quattrocento Sans"/>
                <a:cs typeface="Segoe UI" panose="020B0502040204020203" pitchFamily="34" charset="0"/>
                <a:sym typeface="Quattrocento Sans"/>
              </a:rPr>
              <a:t>Programação de horários e rotinas;</a:t>
            </a:r>
          </a:p>
          <a:p>
            <a:pPr marL="360000" lvl="0" indent="-360000">
              <a:spcBef>
                <a:spcPts val="600"/>
              </a:spcBef>
              <a:spcAft>
                <a:spcPts val="600"/>
              </a:spcAft>
              <a:buClr>
                <a:srgbClr val="F1F1F3"/>
              </a:buClr>
              <a:buFont typeface="Arial" panose="020B0604020202020204" pitchFamily="34" charset="0"/>
              <a:buChar char="•"/>
            </a:pPr>
            <a:r>
              <a:rPr lang="pt-BR" sz="2000" dirty="0">
                <a:solidFill>
                  <a:srgbClr val="FFC000"/>
                </a:solidFill>
                <a:latin typeface="Candara" panose="020E0502030303020204" pitchFamily="34" charset="0"/>
                <a:ea typeface="Quattrocento Sans"/>
                <a:cs typeface="Segoe UI" panose="020B0502040204020203" pitchFamily="34" charset="0"/>
                <a:sym typeface="Quattrocento Sans"/>
              </a:rPr>
              <a:t>Harmonização de ambientes do branco frio </a:t>
            </a:r>
            <a:br>
              <a:rPr lang="pt-BR" sz="2000" dirty="0">
                <a:solidFill>
                  <a:srgbClr val="FFC000"/>
                </a:solidFill>
                <a:latin typeface="Candara" panose="020E0502030303020204" pitchFamily="34" charset="0"/>
                <a:ea typeface="Quattrocento Sans"/>
                <a:cs typeface="Segoe UI" panose="020B0502040204020203" pitchFamily="34" charset="0"/>
                <a:sym typeface="Quattrocento Sans"/>
              </a:rPr>
            </a:br>
            <a:r>
              <a:rPr lang="pt-BR" sz="2000" dirty="0">
                <a:solidFill>
                  <a:srgbClr val="FFC000"/>
                </a:solidFill>
                <a:latin typeface="Candara" panose="020E0502030303020204" pitchFamily="34" charset="0"/>
                <a:ea typeface="Quattrocento Sans"/>
                <a:cs typeface="Segoe UI" panose="020B0502040204020203" pitchFamily="34" charset="0"/>
                <a:sym typeface="Quattrocento Sans"/>
              </a:rPr>
              <a:t>ao quente e 16 milhões de cores;</a:t>
            </a:r>
          </a:p>
          <a:p>
            <a:pPr marL="360000" lvl="0" indent="-360000">
              <a:spcBef>
                <a:spcPts val="600"/>
              </a:spcBef>
              <a:spcAft>
                <a:spcPts val="600"/>
              </a:spcAft>
              <a:buClr>
                <a:srgbClr val="F1F1F3"/>
              </a:buClr>
              <a:buFont typeface="Arial" panose="020B0604020202020204" pitchFamily="34" charset="0"/>
              <a:buChar char="•"/>
            </a:pPr>
            <a:r>
              <a:rPr lang="pt-BR" sz="2000" dirty="0">
                <a:solidFill>
                  <a:srgbClr val="FFC000"/>
                </a:solidFill>
                <a:latin typeface="Candara" panose="020E0502030303020204" pitchFamily="34" charset="0"/>
                <a:ea typeface="Quattrocento Sans"/>
                <a:cs typeface="Segoe UI" panose="020B0502040204020203" pitchFamily="34" charset="0"/>
                <a:sym typeface="Quattrocento Sans"/>
              </a:rPr>
              <a:t>Wi-Fi, E27;</a:t>
            </a:r>
          </a:p>
          <a:p>
            <a:pPr marL="360000" lvl="0" indent="-360000">
              <a:spcBef>
                <a:spcPts val="600"/>
              </a:spcBef>
              <a:spcAft>
                <a:spcPts val="600"/>
              </a:spcAft>
              <a:buClr>
                <a:srgbClr val="F1F1F3"/>
              </a:buClr>
              <a:buFont typeface="Arial" panose="020B0604020202020204" pitchFamily="34" charset="0"/>
              <a:buChar char="•"/>
            </a:pPr>
            <a:r>
              <a:rPr lang="pt-BR" sz="2000" dirty="0">
                <a:solidFill>
                  <a:srgbClr val="FFC000"/>
                </a:solidFill>
                <a:latin typeface="Candara" panose="020E0502030303020204" pitchFamily="34" charset="0"/>
                <a:ea typeface="Quattrocento Sans"/>
                <a:cs typeface="Segoe UI" panose="020B0502040204020203" pitchFamily="34" charset="0"/>
                <a:sym typeface="Quattrocento Sans"/>
              </a:rPr>
              <a:t>Bivolt 100-240V/60HZ;</a:t>
            </a:r>
          </a:p>
          <a:p>
            <a:pPr marL="360000" lvl="0" indent="-360000">
              <a:spcBef>
                <a:spcPts val="600"/>
              </a:spcBef>
              <a:spcAft>
                <a:spcPts val="600"/>
              </a:spcAft>
              <a:buClr>
                <a:srgbClr val="F1F1F3"/>
              </a:buClr>
              <a:buFont typeface="Arial" panose="020B0604020202020204" pitchFamily="34" charset="0"/>
              <a:buChar char="•"/>
            </a:pPr>
            <a:r>
              <a:rPr lang="pt-BR" sz="2000" dirty="0">
                <a:solidFill>
                  <a:srgbClr val="FFC000"/>
                </a:solidFill>
                <a:latin typeface="Candara" panose="020E0502030303020204" pitchFamily="34" charset="0"/>
                <a:ea typeface="Quattrocento Sans"/>
                <a:cs typeface="Segoe UI" panose="020B0502040204020203" pitchFamily="34" charset="0"/>
                <a:sym typeface="Quattrocento Sans"/>
              </a:rPr>
              <a:t>Potência 9W (60W), 810 Lumens.</a:t>
            </a:r>
          </a:p>
        </p:txBody>
      </p:sp>
      <p:pic>
        <p:nvPicPr>
          <p:cNvPr id="8" name="Imagem 7">
            <a:hlinkClick r:id="rId6"/>
            <a:extLst>
              <a:ext uri="{FF2B5EF4-FFF2-40B4-BE49-F238E27FC236}">
                <a16:creationId xmlns:a16="http://schemas.microsoft.com/office/drawing/2014/main" id="{83968320-A3EE-A1B5-054E-CF8570D109ED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 rot="342596">
            <a:off x="-36990" y="1708784"/>
            <a:ext cx="2550208" cy="40648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792412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7" grpId="0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0B939D74-100E-137F-EA80-2136FF9FCAE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m 2" descr="Interface gráfica do usuário&#10;&#10;O conteúdo gerado por IA pode estar incorreto.">
            <a:extLst>
              <a:ext uri="{FF2B5EF4-FFF2-40B4-BE49-F238E27FC236}">
                <a16:creationId xmlns:a16="http://schemas.microsoft.com/office/drawing/2014/main" id="{AAFC2F12-8DF0-C5CD-8128-98FBF2F3DCD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6447" y="248306"/>
            <a:ext cx="1371600" cy="561358"/>
          </a:xfrm>
          <a:prstGeom prst="rect">
            <a:avLst/>
          </a:prstGeom>
        </p:spPr>
      </p:pic>
      <p:pic>
        <p:nvPicPr>
          <p:cNvPr id="1026" name="Picture 2" descr="logo claro PNG &amp; clipart images | Citypng">
            <a:extLst>
              <a:ext uri="{FF2B5EF4-FFF2-40B4-BE49-F238E27FC236}">
                <a16:creationId xmlns:a16="http://schemas.microsoft.com/office/drawing/2014/main" id="{F95266F3-96A7-B413-E856-64574BB53D1D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ackgroundRemoval t="8875" b="90500" l="9625" r="90375">
                        <a14:foregroundMark x1="35125" y1="42750" x2="35125" y2="42750"/>
                        <a14:foregroundMark x1="35250" y1="45125" x2="33750" y2="54125"/>
                        <a14:foregroundMark x1="33750" y1="54125" x2="41375" y2="48750"/>
                        <a14:foregroundMark x1="41375" y1="48750" x2="36875" y2="40375"/>
                        <a14:foregroundMark x1="36875" y1="40375" x2="31375" y2="43625"/>
                        <a14:foregroundMark x1="22000" y1="41875" x2="12375" y2="50500"/>
                        <a14:foregroundMark x1="12375" y1="50500" x2="25625" y2="62375"/>
                        <a14:foregroundMark x1="25625" y1="62375" x2="52750" y2="64125"/>
                        <a14:foregroundMark x1="52750" y1="64125" x2="73500" y2="62500"/>
                        <a14:foregroundMark x1="73500" y1="62500" x2="87375" y2="56375"/>
                        <a14:foregroundMark x1="87375" y1="56375" x2="87125" y2="45625"/>
                        <a14:foregroundMark x1="87125" y1="45625" x2="84625" y2="37625"/>
                        <a14:foregroundMark x1="84625" y1="37625" x2="76500" y2="32125"/>
                        <a14:foregroundMark x1="76500" y1="32125" x2="57500" y2="27250"/>
                        <a14:foregroundMark x1="57500" y1="27250" x2="20250" y2="28750"/>
                        <a14:foregroundMark x1="20250" y1="28750" x2="15750" y2="38375"/>
                        <a14:foregroundMark x1="15750" y1="38375" x2="12250" y2="41125"/>
                        <a14:foregroundMark x1="28375" y1="36125" x2="17625" y2="48125"/>
                        <a14:foregroundMark x1="17625" y1="48125" x2="23875" y2="57625"/>
                        <a14:foregroundMark x1="23875" y1="57625" x2="34500" y2="44000"/>
                        <a14:foregroundMark x1="34500" y1="44000" x2="21250" y2="39375"/>
                        <a14:foregroundMark x1="21250" y1="39375" x2="19250" y2="41250"/>
                        <a14:foregroundMark x1="26250" y1="40250" x2="27375" y2="52750"/>
                        <a14:foregroundMark x1="27375" y1="52750" x2="28875" y2="40125"/>
                        <a14:foregroundMark x1="28875" y1="40125" x2="18750" y2="45500"/>
                        <a14:foregroundMark x1="18750" y1="45500" x2="20750" y2="48625"/>
                        <a14:foregroundMark x1="26875" y1="40625" x2="27375" y2="58250"/>
                        <a14:foregroundMark x1="27375" y1="58250" x2="30625" y2="48375"/>
                        <a14:foregroundMark x1="30625" y1="48375" x2="20375" y2="51125"/>
                        <a14:foregroundMark x1="20375" y1="51125" x2="20375" y2="52375"/>
                        <a14:foregroundMark x1="19125" y1="42500" x2="25500" y2="55125"/>
                        <a14:foregroundMark x1="25500" y1="55125" x2="25125" y2="59500"/>
                        <a14:foregroundMark x1="22250" y1="56750" x2="21750" y2="58125"/>
                        <a14:foregroundMark x1="38500" y1="39875" x2="29750" y2="53250"/>
                        <a14:foregroundMark x1="29750" y1="53250" x2="34875" y2="62125"/>
                        <a14:foregroundMark x1="34875" y1="62125" x2="39750" y2="49375"/>
                        <a14:foregroundMark x1="39750" y1="49375" x2="36125" y2="43000"/>
                        <a14:foregroundMark x1="43375" y1="42375" x2="41000" y2="60750"/>
                        <a14:foregroundMark x1="41000" y1="60750" x2="51625" y2="47750"/>
                        <a14:foregroundMark x1="51625" y1="47750" x2="43375" y2="46875"/>
                        <a14:foregroundMark x1="43375" y1="46875" x2="41375" y2="48000"/>
                        <a14:foregroundMark x1="47125" y1="50750" x2="48375" y2="59000"/>
                        <a14:foregroundMark x1="48375" y1="59000" x2="45125" y2="53500"/>
                        <a14:foregroundMark x1="53625" y1="43250" x2="52125" y2="50125"/>
                        <a14:foregroundMark x1="52125" y1="50125" x2="54125" y2="58375"/>
                        <a14:foregroundMark x1="54125" y1="58375" x2="58125" y2="50500"/>
                        <a14:foregroundMark x1="58125" y1="50500" x2="53250" y2="45125"/>
                        <a14:foregroundMark x1="53250" y1="45125" x2="51500" y2="45375"/>
                        <a14:foregroundMark x1="58625" y1="42000" x2="59750" y2="52125"/>
                        <a14:foregroundMark x1="59750" y1="52125" x2="57750" y2="45000"/>
                        <a14:foregroundMark x1="63000" y1="45375" x2="61000" y2="62375"/>
                        <a14:foregroundMark x1="61000" y1="62375" x2="73375" y2="56375"/>
                        <a14:foregroundMark x1="73375" y1="56375" x2="72000" y2="45625"/>
                        <a14:foregroundMark x1="72000" y1="45625" x2="64375" y2="43500"/>
                        <a14:foregroundMark x1="64375" y1="43500" x2="61750" y2="33375"/>
                        <a14:foregroundMark x1="61750" y1="33375" x2="72625" y2="31250"/>
                        <a14:foregroundMark x1="72625" y1="31250" x2="67750" y2="44000"/>
                        <a14:foregroundMark x1="67750" y1="44000" x2="73125" y2="38125"/>
                        <a14:foregroundMark x1="73125" y1="38125" x2="81750" y2="37125"/>
                        <a14:foregroundMark x1="81750" y1="37125" x2="77625" y2="50250"/>
                        <a14:foregroundMark x1="77625" y1="50250" x2="81750" y2="52375"/>
                        <a14:foregroundMark x1="68875" y1="31750" x2="67125" y2="43250"/>
                        <a14:foregroundMark x1="67125" y1="43250" x2="69125" y2="34625"/>
                        <a14:foregroundMark x1="78750" y1="32500" x2="75250" y2="44500"/>
                        <a14:foregroundMark x1="75250" y1="44500" x2="79875" y2="36750"/>
                        <a14:foregroundMark x1="79875" y1="36750" x2="76875" y2="36375"/>
                        <a14:foregroundMark x1="78750" y1="46625" x2="80125" y2="55500"/>
                        <a14:foregroundMark x1="80125" y1="55500" x2="80750" y2="46125"/>
                        <a14:foregroundMark x1="80750" y1="46125" x2="77750" y2="45875"/>
                        <a14:foregroundMark x1="90375" y1="44000" x2="88750" y2="56375"/>
                        <a14:foregroundMark x1="45750" y1="10250" x2="57875" y2="11500"/>
                        <a14:foregroundMark x1="54125" y1="8875" x2="53500" y2="9125"/>
                        <a14:foregroundMark x1="49500" y1="90500" x2="54125" y2="89500"/>
                        <a14:foregroundMark x1="9625" y1="49625" x2="11000" y2="47125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3256" t="7288" r="7881" b="3666"/>
          <a:stretch>
            <a:fillRect/>
          </a:stretch>
        </p:blipFill>
        <p:spPr bwMode="auto">
          <a:xfrm>
            <a:off x="11238614" y="5890437"/>
            <a:ext cx="733648" cy="7351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CaixaDeTexto 1">
            <a:extLst>
              <a:ext uri="{FF2B5EF4-FFF2-40B4-BE49-F238E27FC236}">
                <a16:creationId xmlns:a16="http://schemas.microsoft.com/office/drawing/2014/main" id="{99FD0B27-8807-9358-9755-C6F9473B9113}"/>
              </a:ext>
            </a:extLst>
          </p:cNvPr>
          <p:cNvSpPr txBox="1"/>
          <p:nvPr/>
        </p:nvSpPr>
        <p:spPr>
          <a:xfrm>
            <a:off x="2413588" y="3028890"/>
            <a:ext cx="736482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>
              <a:spcBef>
                <a:spcPts val="1200"/>
              </a:spcBef>
            </a:pPr>
            <a:r>
              <a:rPr lang="da-DK" sz="3600" b="1" i="1" dirty="0">
                <a:solidFill>
                  <a:schemeClr val="bg1">
                    <a:lumMod val="95000"/>
                  </a:schemeClr>
                </a:solidFill>
                <a:latin typeface="Candara" panose="020E0502030303020204" pitchFamily="34" charset="0"/>
                <a:ea typeface="Quattrocento Sans"/>
                <a:cs typeface="Times New Roman" panose="02020603050405020304" pitchFamily="18" charset="0"/>
                <a:sym typeface="Quattrocento Sans"/>
              </a:rPr>
              <a:t>Transformadores </a:t>
            </a:r>
            <a:r>
              <a:rPr lang="da-DK" sz="2000" b="1" i="1" dirty="0">
                <a:solidFill>
                  <a:schemeClr val="bg1">
                    <a:lumMod val="95000"/>
                  </a:schemeClr>
                </a:solidFill>
                <a:latin typeface="Candara" panose="020E0502030303020204" pitchFamily="34" charset="0"/>
                <a:ea typeface="Quattrocento Sans"/>
                <a:cs typeface="Times New Roman" panose="02020603050405020304" pitchFamily="18" charset="0"/>
                <a:sym typeface="Quattrocento Sans"/>
              </a:rPr>
              <a:t> </a:t>
            </a:r>
          </a:p>
        </p:txBody>
      </p:sp>
      <p:pic>
        <p:nvPicPr>
          <p:cNvPr id="20" name="Imagem 19">
            <a:hlinkClick r:id="rId6"/>
            <a:extLst>
              <a:ext uri="{FF2B5EF4-FFF2-40B4-BE49-F238E27FC236}">
                <a16:creationId xmlns:a16="http://schemas.microsoft.com/office/drawing/2014/main" id="{F89E80A5-F7DD-25AE-7492-F7C7FC5E7D9B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 rot="328715">
            <a:off x="11101564" y="166786"/>
            <a:ext cx="594251" cy="947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7051208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046D6699-0BA1-4A22-E739-2BB5EEE6970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m 2" descr="Interface gráfica do usuário&#10;&#10;O conteúdo gerado por IA pode estar incorreto.">
            <a:extLst>
              <a:ext uri="{FF2B5EF4-FFF2-40B4-BE49-F238E27FC236}">
                <a16:creationId xmlns:a16="http://schemas.microsoft.com/office/drawing/2014/main" id="{E18D9CA0-18A8-FEB6-EF49-62B0EB7D6469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6447" y="248306"/>
            <a:ext cx="1371600" cy="561358"/>
          </a:xfrm>
          <a:prstGeom prst="rect">
            <a:avLst/>
          </a:prstGeom>
        </p:spPr>
      </p:pic>
      <p:pic>
        <p:nvPicPr>
          <p:cNvPr id="1026" name="Picture 2" descr="logo claro PNG &amp; clipart images | Citypng">
            <a:extLst>
              <a:ext uri="{FF2B5EF4-FFF2-40B4-BE49-F238E27FC236}">
                <a16:creationId xmlns:a16="http://schemas.microsoft.com/office/drawing/2014/main" id="{AF2F90F9-93B4-D0FE-741A-57B7E3556EAC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ackgroundRemoval t="8875" b="90500" l="9625" r="90375">
                        <a14:foregroundMark x1="35125" y1="42750" x2="35125" y2="42750"/>
                        <a14:foregroundMark x1="35250" y1="45125" x2="33750" y2="54125"/>
                        <a14:foregroundMark x1="33750" y1="54125" x2="41375" y2="48750"/>
                        <a14:foregroundMark x1="41375" y1="48750" x2="36875" y2="40375"/>
                        <a14:foregroundMark x1="36875" y1="40375" x2="31375" y2="43625"/>
                        <a14:foregroundMark x1="22000" y1="41875" x2="12375" y2="50500"/>
                        <a14:foregroundMark x1="12375" y1="50500" x2="25625" y2="62375"/>
                        <a14:foregroundMark x1="25625" y1="62375" x2="52750" y2="64125"/>
                        <a14:foregroundMark x1="52750" y1="64125" x2="73500" y2="62500"/>
                        <a14:foregroundMark x1="73500" y1="62500" x2="87375" y2="56375"/>
                        <a14:foregroundMark x1="87375" y1="56375" x2="87125" y2="45625"/>
                        <a14:foregroundMark x1="87125" y1="45625" x2="84625" y2="37625"/>
                        <a14:foregroundMark x1="84625" y1="37625" x2="76500" y2="32125"/>
                        <a14:foregroundMark x1="76500" y1="32125" x2="57500" y2="27250"/>
                        <a14:foregroundMark x1="57500" y1="27250" x2="20250" y2="28750"/>
                        <a14:foregroundMark x1="20250" y1="28750" x2="15750" y2="38375"/>
                        <a14:foregroundMark x1="15750" y1="38375" x2="12250" y2="41125"/>
                        <a14:foregroundMark x1="28375" y1="36125" x2="17625" y2="48125"/>
                        <a14:foregroundMark x1="17625" y1="48125" x2="23875" y2="57625"/>
                        <a14:foregroundMark x1="23875" y1="57625" x2="34500" y2="44000"/>
                        <a14:foregroundMark x1="34500" y1="44000" x2="21250" y2="39375"/>
                        <a14:foregroundMark x1="21250" y1="39375" x2="19250" y2="41250"/>
                        <a14:foregroundMark x1="26250" y1="40250" x2="27375" y2="52750"/>
                        <a14:foregroundMark x1="27375" y1="52750" x2="28875" y2="40125"/>
                        <a14:foregroundMark x1="28875" y1="40125" x2="18750" y2="45500"/>
                        <a14:foregroundMark x1="18750" y1="45500" x2="20750" y2="48625"/>
                        <a14:foregroundMark x1="26875" y1="40625" x2="27375" y2="58250"/>
                        <a14:foregroundMark x1="27375" y1="58250" x2="30625" y2="48375"/>
                        <a14:foregroundMark x1="30625" y1="48375" x2="20375" y2="51125"/>
                        <a14:foregroundMark x1="20375" y1="51125" x2="20375" y2="52375"/>
                        <a14:foregroundMark x1="19125" y1="42500" x2="25500" y2="55125"/>
                        <a14:foregroundMark x1="25500" y1="55125" x2="25125" y2="59500"/>
                        <a14:foregroundMark x1="22250" y1="56750" x2="21750" y2="58125"/>
                        <a14:foregroundMark x1="38500" y1="39875" x2="29750" y2="53250"/>
                        <a14:foregroundMark x1="29750" y1="53250" x2="34875" y2="62125"/>
                        <a14:foregroundMark x1="34875" y1="62125" x2="39750" y2="49375"/>
                        <a14:foregroundMark x1="39750" y1="49375" x2="36125" y2="43000"/>
                        <a14:foregroundMark x1="43375" y1="42375" x2="41000" y2="60750"/>
                        <a14:foregroundMark x1="41000" y1="60750" x2="51625" y2="47750"/>
                        <a14:foregroundMark x1="51625" y1="47750" x2="43375" y2="46875"/>
                        <a14:foregroundMark x1="43375" y1="46875" x2="41375" y2="48000"/>
                        <a14:foregroundMark x1="47125" y1="50750" x2="48375" y2="59000"/>
                        <a14:foregroundMark x1="48375" y1="59000" x2="45125" y2="53500"/>
                        <a14:foregroundMark x1="53625" y1="43250" x2="52125" y2="50125"/>
                        <a14:foregroundMark x1="52125" y1="50125" x2="54125" y2="58375"/>
                        <a14:foregroundMark x1="54125" y1="58375" x2="58125" y2="50500"/>
                        <a14:foregroundMark x1="58125" y1="50500" x2="53250" y2="45125"/>
                        <a14:foregroundMark x1="53250" y1="45125" x2="51500" y2="45375"/>
                        <a14:foregroundMark x1="58625" y1="42000" x2="59750" y2="52125"/>
                        <a14:foregroundMark x1="59750" y1="52125" x2="57750" y2="45000"/>
                        <a14:foregroundMark x1="63000" y1="45375" x2="61000" y2="62375"/>
                        <a14:foregroundMark x1="61000" y1="62375" x2="73375" y2="56375"/>
                        <a14:foregroundMark x1="73375" y1="56375" x2="72000" y2="45625"/>
                        <a14:foregroundMark x1="72000" y1="45625" x2="64375" y2="43500"/>
                        <a14:foregroundMark x1="64375" y1="43500" x2="61750" y2="33375"/>
                        <a14:foregroundMark x1="61750" y1="33375" x2="72625" y2="31250"/>
                        <a14:foregroundMark x1="72625" y1="31250" x2="67750" y2="44000"/>
                        <a14:foregroundMark x1="67750" y1="44000" x2="73125" y2="38125"/>
                        <a14:foregroundMark x1="73125" y1="38125" x2="81750" y2="37125"/>
                        <a14:foregroundMark x1="81750" y1="37125" x2="77625" y2="50250"/>
                        <a14:foregroundMark x1="77625" y1="50250" x2="81750" y2="52375"/>
                        <a14:foregroundMark x1="68875" y1="31750" x2="67125" y2="43250"/>
                        <a14:foregroundMark x1="67125" y1="43250" x2="69125" y2="34625"/>
                        <a14:foregroundMark x1="78750" y1="32500" x2="75250" y2="44500"/>
                        <a14:foregroundMark x1="75250" y1="44500" x2="79875" y2="36750"/>
                        <a14:foregroundMark x1="79875" y1="36750" x2="76875" y2="36375"/>
                        <a14:foregroundMark x1="78750" y1="46625" x2="80125" y2="55500"/>
                        <a14:foregroundMark x1="80125" y1="55500" x2="80750" y2="46125"/>
                        <a14:foregroundMark x1="80750" y1="46125" x2="77750" y2="45875"/>
                        <a14:foregroundMark x1="90375" y1="44000" x2="88750" y2="56375"/>
                        <a14:foregroundMark x1="45750" y1="10250" x2="57875" y2="11500"/>
                        <a14:foregroundMark x1="54125" y1="8875" x2="53500" y2="9125"/>
                        <a14:foregroundMark x1="49500" y1="90500" x2="54125" y2="89500"/>
                        <a14:foregroundMark x1="9625" y1="49625" x2="11000" y2="47125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3256" t="7288" r="7881" b="3666"/>
          <a:stretch>
            <a:fillRect/>
          </a:stretch>
        </p:blipFill>
        <p:spPr bwMode="auto">
          <a:xfrm>
            <a:off x="11238614" y="5890437"/>
            <a:ext cx="733648" cy="7351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CaixaDeTexto 1">
            <a:extLst>
              <a:ext uri="{FF2B5EF4-FFF2-40B4-BE49-F238E27FC236}">
                <a16:creationId xmlns:a16="http://schemas.microsoft.com/office/drawing/2014/main" id="{45182163-BCC9-7D2F-3B5F-D9CB45507BDE}"/>
              </a:ext>
            </a:extLst>
          </p:cNvPr>
          <p:cNvSpPr txBox="1"/>
          <p:nvPr/>
        </p:nvSpPr>
        <p:spPr>
          <a:xfrm>
            <a:off x="2246064" y="440332"/>
            <a:ext cx="736482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>
              <a:spcBef>
                <a:spcPts val="1200"/>
              </a:spcBef>
            </a:pPr>
            <a:r>
              <a:rPr lang="pt-BR" sz="2400" b="1" i="1" dirty="0">
                <a:solidFill>
                  <a:schemeClr val="bg2"/>
                </a:solidFill>
                <a:latin typeface="Candara" panose="020E0502030303020204" pitchFamily="34" charset="0"/>
                <a:ea typeface="Quattrocento Sans"/>
                <a:cs typeface="Times New Roman" panose="02020603050405020304" pitchFamily="18" charset="0"/>
                <a:sym typeface="Quattrocento Sans"/>
              </a:rPr>
              <a:t>Central de Controle Infravermelho Universal</a:t>
            </a:r>
          </a:p>
        </p:txBody>
      </p:sp>
      <p:pic>
        <p:nvPicPr>
          <p:cNvPr id="4" name="WhatsApp Video 2024-10-03 at 09.34.37">
            <a:hlinkClick r:id="" action="ppaction://media"/>
            <a:extLst>
              <a:ext uri="{FF2B5EF4-FFF2-40B4-BE49-F238E27FC236}">
                <a16:creationId xmlns:a16="http://schemas.microsoft.com/office/drawing/2014/main" id="{2B922D1E-B4B3-92A9-0100-39E0D2F233A3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8"/>
          <a:stretch>
            <a:fillRect/>
          </a:stretch>
        </p:blipFill>
        <p:spPr>
          <a:xfrm>
            <a:off x="1839931" y="1280160"/>
            <a:ext cx="8512137" cy="4788077"/>
          </a:xfrm>
          <a:prstGeom prst="roundRect">
            <a:avLst>
              <a:gd name="adj" fmla="val 6765"/>
            </a:avLst>
          </a:prstGeom>
        </p:spPr>
      </p:pic>
      <p:pic>
        <p:nvPicPr>
          <p:cNvPr id="5" name="Imagem 4">
            <a:hlinkClick r:id="rId9"/>
            <a:extLst>
              <a:ext uri="{FF2B5EF4-FFF2-40B4-BE49-F238E27FC236}">
                <a16:creationId xmlns:a16="http://schemas.microsoft.com/office/drawing/2014/main" id="{16C060D8-E205-F1F3-73C1-16EC5E6660E2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10770238" y="440332"/>
            <a:ext cx="936752" cy="5003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5278683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95850" fill="hold"/>
                                        <p:tgtEl>
                                          <p:spTgt spid="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seq concurrent="1" nextAc="seek">
              <p:cTn id="7" restart="whenNotActive" fill="hold" evtFilter="cancelBubble" nodeType="interactiveSeq">
                <p:stCondLst>
                  <p:cond evt="onClick" delay="0">
                    <p:tgtEl>
                      <p:spTgt spid="4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8" fill="hold">
                      <p:stCondLst>
                        <p:cond delay="0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1" dur="1" fill="hold"/>
                                        <p:tgtEl>
                                          <p:spTgt spid="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4"/>
                  </p:tgtEl>
                </p:cond>
              </p:nextCondLst>
            </p:seq>
            <p:video>
              <p:cMediaNode vol="80000">
                <p:cTn id="12" fill="hold" display="0">
                  <p:stCondLst>
                    <p:cond delay="indefinite"/>
                  </p:stCondLst>
                </p:cTn>
                <p:tgtEl>
                  <p:spTgt spid="4"/>
                </p:tgtEl>
              </p:cMediaNode>
            </p:video>
          </p:childTnLst>
        </p:cTn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046D6699-0BA1-4A22-E739-2BB5EEE6970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m 2" descr="Interface gráfica do usuário&#10;&#10;O conteúdo gerado por IA pode estar incorreto.">
            <a:extLst>
              <a:ext uri="{FF2B5EF4-FFF2-40B4-BE49-F238E27FC236}">
                <a16:creationId xmlns:a16="http://schemas.microsoft.com/office/drawing/2014/main" id="{E18D9CA0-18A8-FEB6-EF49-62B0EB7D646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6447" y="248306"/>
            <a:ext cx="1371600" cy="561358"/>
          </a:xfrm>
          <a:prstGeom prst="rect">
            <a:avLst/>
          </a:prstGeom>
        </p:spPr>
      </p:pic>
      <p:pic>
        <p:nvPicPr>
          <p:cNvPr id="1026" name="Picture 2" descr="logo claro PNG &amp; clipart images | Citypng">
            <a:extLst>
              <a:ext uri="{FF2B5EF4-FFF2-40B4-BE49-F238E27FC236}">
                <a16:creationId xmlns:a16="http://schemas.microsoft.com/office/drawing/2014/main" id="{AF2F90F9-93B4-D0FE-741A-57B7E3556EAC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ackgroundRemoval t="8875" b="90500" l="9625" r="90375">
                        <a14:foregroundMark x1="35125" y1="42750" x2="35125" y2="42750"/>
                        <a14:foregroundMark x1="35250" y1="45125" x2="33750" y2="54125"/>
                        <a14:foregroundMark x1="33750" y1="54125" x2="41375" y2="48750"/>
                        <a14:foregroundMark x1="41375" y1="48750" x2="36875" y2="40375"/>
                        <a14:foregroundMark x1="36875" y1="40375" x2="31375" y2="43625"/>
                        <a14:foregroundMark x1="22000" y1="41875" x2="12375" y2="50500"/>
                        <a14:foregroundMark x1="12375" y1="50500" x2="25625" y2="62375"/>
                        <a14:foregroundMark x1="25625" y1="62375" x2="52750" y2="64125"/>
                        <a14:foregroundMark x1="52750" y1="64125" x2="73500" y2="62500"/>
                        <a14:foregroundMark x1="73500" y1="62500" x2="87375" y2="56375"/>
                        <a14:foregroundMark x1="87375" y1="56375" x2="87125" y2="45625"/>
                        <a14:foregroundMark x1="87125" y1="45625" x2="84625" y2="37625"/>
                        <a14:foregroundMark x1="84625" y1="37625" x2="76500" y2="32125"/>
                        <a14:foregroundMark x1="76500" y1="32125" x2="57500" y2="27250"/>
                        <a14:foregroundMark x1="57500" y1="27250" x2="20250" y2="28750"/>
                        <a14:foregroundMark x1="20250" y1="28750" x2="15750" y2="38375"/>
                        <a14:foregroundMark x1="15750" y1="38375" x2="12250" y2="41125"/>
                        <a14:foregroundMark x1="28375" y1="36125" x2="17625" y2="48125"/>
                        <a14:foregroundMark x1="17625" y1="48125" x2="23875" y2="57625"/>
                        <a14:foregroundMark x1="23875" y1="57625" x2="34500" y2="44000"/>
                        <a14:foregroundMark x1="34500" y1="44000" x2="21250" y2="39375"/>
                        <a14:foregroundMark x1="21250" y1="39375" x2="19250" y2="41250"/>
                        <a14:foregroundMark x1="26250" y1="40250" x2="27375" y2="52750"/>
                        <a14:foregroundMark x1="27375" y1="52750" x2="28875" y2="40125"/>
                        <a14:foregroundMark x1="28875" y1="40125" x2="18750" y2="45500"/>
                        <a14:foregroundMark x1="18750" y1="45500" x2="20750" y2="48625"/>
                        <a14:foregroundMark x1="26875" y1="40625" x2="27375" y2="58250"/>
                        <a14:foregroundMark x1="27375" y1="58250" x2="30625" y2="48375"/>
                        <a14:foregroundMark x1="30625" y1="48375" x2="20375" y2="51125"/>
                        <a14:foregroundMark x1="20375" y1="51125" x2="20375" y2="52375"/>
                        <a14:foregroundMark x1="19125" y1="42500" x2="25500" y2="55125"/>
                        <a14:foregroundMark x1="25500" y1="55125" x2="25125" y2="59500"/>
                        <a14:foregroundMark x1="22250" y1="56750" x2="21750" y2="58125"/>
                        <a14:foregroundMark x1="38500" y1="39875" x2="29750" y2="53250"/>
                        <a14:foregroundMark x1="29750" y1="53250" x2="34875" y2="62125"/>
                        <a14:foregroundMark x1="34875" y1="62125" x2="39750" y2="49375"/>
                        <a14:foregroundMark x1="39750" y1="49375" x2="36125" y2="43000"/>
                        <a14:foregroundMark x1="43375" y1="42375" x2="41000" y2="60750"/>
                        <a14:foregroundMark x1="41000" y1="60750" x2="51625" y2="47750"/>
                        <a14:foregroundMark x1="51625" y1="47750" x2="43375" y2="46875"/>
                        <a14:foregroundMark x1="43375" y1="46875" x2="41375" y2="48000"/>
                        <a14:foregroundMark x1="47125" y1="50750" x2="48375" y2="59000"/>
                        <a14:foregroundMark x1="48375" y1="59000" x2="45125" y2="53500"/>
                        <a14:foregroundMark x1="53625" y1="43250" x2="52125" y2="50125"/>
                        <a14:foregroundMark x1="52125" y1="50125" x2="54125" y2="58375"/>
                        <a14:foregroundMark x1="54125" y1="58375" x2="58125" y2="50500"/>
                        <a14:foregroundMark x1="58125" y1="50500" x2="53250" y2="45125"/>
                        <a14:foregroundMark x1="53250" y1="45125" x2="51500" y2="45375"/>
                        <a14:foregroundMark x1="58625" y1="42000" x2="59750" y2="52125"/>
                        <a14:foregroundMark x1="59750" y1="52125" x2="57750" y2="45000"/>
                        <a14:foregroundMark x1="63000" y1="45375" x2="61000" y2="62375"/>
                        <a14:foregroundMark x1="61000" y1="62375" x2="73375" y2="56375"/>
                        <a14:foregroundMark x1="73375" y1="56375" x2="72000" y2="45625"/>
                        <a14:foregroundMark x1="72000" y1="45625" x2="64375" y2="43500"/>
                        <a14:foregroundMark x1="64375" y1="43500" x2="61750" y2="33375"/>
                        <a14:foregroundMark x1="61750" y1="33375" x2="72625" y2="31250"/>
                        <a14:foregroundMark x1="72625" y1="31250" x2="67750" y2="44000"/>
                        <a14:foregroundMark x1="67750" y1="44000" x2="73125" y2="38125"/>
                        <a14:foregroundMark x1="73125" y1="38125" x2="81750" y2="37125"/>
                        <a14:foregroundMark x1="81750" y1="37125" x2="77625" y2="50250"/>
                        <a14:foregroundMark x1="77625" y1="50250" x2="81750" y2="52375"/>
                        <a14:foregroundMark x1="68875" y1="31750" x2="67125" y2="43250"/>
                        <a14:foregroundMark x1="67125" y1="43250" x2="69125" y2="34625"/>
                        <a14:foregroundMark x1="78750" y1="32500" x2="75250" y2="44500"/>
                        <a14:foregroundMark x1="75250" y1="44500" x2="79875" y2="36750"/>
                        <a14:foregroundMark x1="79875" y1="36750" x2="76875" y2="36375"/>
                        <a14:foregroundMark x1="78750" y1="46625" x2="80125" y2="55500"/>
                        <a14:foregroundMark x1="80125" y1="55500" x2="80750" y2="46125"/>
                        <a14:foregroundMark x1="80750" y1="46125" x2="77750" y2="45875"/>
                        <a14:foregroundMark x1="90375" y1="44000" x2="88750" y2="56375"/>
                        <a14:foregroundMark x1="45750" y1="10250" x2="57875" y2="11500"/>
                        <a14:foregroundMark x1="54125" y1="8875" x2="53500" y2="9125"/>
                        <a14:foregroundMark x1="49500" y1="90500" x2="54125" y2="89500"/>
                        <a14:foregroundMark x1="9625" y1="49625" x2="11000" y2="47125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3256" t="7288" r="7881" b="3666"/>
          <a:stretch>
            <a:fillRect/>
          </a:stretch>
        </p:blipFill>
        <p:spPr bwMode="auto">
          <a:xfrm>
            <a:off x="11238614" y="5890437"/>
            <a:ext cx="733648" cy="7351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CaixaDeTexto 1">
            <a:extLst>
              <a:ext uri="{FF2B5EF4-FFF2-40B4-BE49-F238E27FC236}">
                <a16:creationId xmlns:a16="http://schemas.microsoft.com/office/drawing/2014/main" id="{45182163-BCC9-7D2F-3B5F-D9CB45507BDE}"/>
              </a:ext>
            </a:extLst>
          </p:cNvPr>
          <p:cNvSpPr txBox="1"/>
          <p:nvPr/>
        </p:nvSpPr>
        <p:spPr>
          <a:xfrm>
            <a:off x="2246064" y="440332"/>
            <a:ext cx="736482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>
              <a:spcBef>
                <a:spcPts val="1200"/>
              </a:spcBef>
            </a:pPr>
            <a:r>
              <a:rPr lang="pt-BR" sz="2400" b="1" i="1" dirty="0">
                <a:solidFill>
                  <a:schemeClr val="bg2"/>
                </a:solidFill>
                <a:latin typeface="Candara" panose="020E0502030303020204" pitchFamily="34" charset="0"/>
                <a:ea typeface="Quattrocento Sans"/>
                <a:cs typeface="Times New Roman" panose="02020603050405020304" pitchFamily="18" charset="0"/>
                <a:sym typeface="Quattrocento Sans"/>
              </a:rPr>
              <a:t>Central de Controle Infravermelho Universal</a:t>
            </a:r>
          </a:p>
        </p:txBody>
      </p:sp>
      <p:pic>
        <p:nvPicPr>
          <p:cNvPr id="5" name="Imagem 4">
            <a:hlinkClick r:id="rId6"/>
            <a:extLst>
              <a:ext uri="{FF2B5EF4-FFF2-40B4-BE49-F238E27FC236}">
                <a16:creationId xmlns:a16="http://schemas.microsoft.com/office/drawing/2014/main" id="{16C060D8-E205-F1F3-73C1-16EC5E6660E2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0770238" y="440332"/>
            <a:ext cx="936752" cy="500311"/>
          </a:xfrm>
          <a:prstGeom prst="rect">
            <a:avLst/>
          </a:prstGeom>
        </p:spPr>
      </p:pic>
      <p:sp>
        <p:nvSpPr>
          <p:cNvPr id="6" name="CaixaDeTexto 5">
            <a:extLst>
              <a:ext uri="{FF2B5EF4-FFF2-40B4-BE49-F238E27FC236}">
                <a16:creationId xmlns:a16="http://schemas.microsoft.com/office/drawing/2014/main" id="{F279CFE2-9B58-C2C3-EC3F-5D3E1356DE58}"/>
              </a:ext>
            </a:extLst>
          </p:cNvPr>
          <p:cNvSpPr txBox="1"/>
          <p:nvPr/>
        </p:nvSpPr>
        <p:spPr>
          <a:xfrm>
            <a:off x="877438" y="1104462"/>
            <a:ext cx="9813207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Bef>
                <a:spcPts val="1200"/>
              </a:spcBef>
            </a:pPr>
            <a:r>
              <a:rPr lang="pt-BR" sz="2000" dirty="0">
                <a:solidFill>
                  <a:srgbClr val="FFC000"/>
                </a:solidFill>
                <a:latin typeface="Candara" panose="020E0502030303020204" pitchFamily="34" charset="0"/>
                <a:ea typeface="Quattrocento Sans"/>
                <a:cs typeface="Segoe UI" panose="020B0502040204020203" pitchFamily="34" charset="0"/>
                <a:sym typeface="Quattrocento Sans"/>
              </a:rPr>
              <a:t>A Central de Controle Infravermelho Universal gerencia diferentes </a:t>
            </a:r>
            <a:br>
              <a:rPr lang="pt-BR" sz="2000" dirty="0">
                <a:solidFill>
                  <a:srgbClr val="FFC000"/>
                </a:solidFill>
                <a:latin typeface="Candara" panose="020E0502030303020204" pitchFamily="34" charset="0"/>
                <a:ea typeface="Quattrocento Sans"/>
                <a:cs typeface="Segoe UI" panose="020B0502040204020203" pitchFamily="34" charset="0"/>
                <a:sym typeface="Quattrocento Sans"/>
              </a:rPr>
            </a:br>
            <a:r>
              <a:rPr lang="pt-BR" sz="2000" dirty="0">
                <a:solidFill>
                  <a:srgbClr val="FFC000"/>
                </a:solidFill>
                <a:latin typeface="Candara" panose="020E0502030303020204" pitchFamily="34" charset="0"/>
                <a:ea typeface="Quattrocento Sans"/>
                <a:cs typeface="Segoe UI" panose="020B0502040204020203" pitchFamily="34" charset="0"/>
                <a:sym typeface="Quattrocento Sans"/>
              </a:rPr>
              <a:t>dispositivos que são controlados por infravermelho. </a:t>
            </a:r>
            <a:br>
              <a:rPr lang="pt-BR" sz="2000" dirty="0">
                <a:solidFill>
                  <a:srgbClr val="FFC000"/>
                </a:solidFill>
                <a:latin typeface="Candara" panose="020E0502030303020204" pitchFamily="34" charset="0"/>
                <a:ea typeface="Quattrocento Sans"/>
                <a:cs typeface="Segoe UI" panose="020B0502040204020203" pitchFamily="34" charset="0"/>
                <a:sym typeface="Quattrocento Sans"/>
              </a:rPr>
            </a:br>
            <a:r>
              <a:rPr lang="pt-BR" sz="2000" dirty="0">
                <a:solidFill>
                  <a:srgbClr val="FFC000"/>
                </a:solidFill>
                <a:latin typeface="Candara" panose="020E0502030303020204" pitchFamily="34" charset="0"/>
                <a:ea typeface="Quattrocento Sans"/>
                <a:cs typeface="Segoe UI" panose="020B0502040204020203" pitchFamily="34" charset="0"/>
                <a:sym typeface="Quattrocento Sans"/>
              </a:rPr>
              <a:t>Como: TV, Ar Condicionado, Home </a:t>
            </a:r>
            <a:r>
              <a:rPr lang="pt-BR" sz="2000" dirty="0" err="1">
                <a:solidFill>
                  <a:srgbClr val="FFC000"/>
                </a:solidFill>
                <a:latin typeface="Candara" panose="020E0502030303020204" pitchFamily="34" charset="0"/>
                <a:ea typeface="Quattrocento Sans"/>
                <a:cs typeface="Segoe UI" panose="020B0502040204020203" pitchFamily="34" charset="0"/>
                <a:sym typeface="Quattrocento Sans"/>
              </a:rPr>
              <a:t>Theater</a:t>
            </a:r>
            <a:r>
              <a:rPr lang="pt-BR" sz="2000" dirty="0">
                <a:solidFill>
                  <a:srgbClr val="FFC000"/>
                </a:solidFill>
                <a:latin typeface="Candara" panose="020E0502030303020204" pitchFamily="34" charset="0"/>
                <a:ea typeface="Quattrocento Sans"/>
                <a:cs typeface="Segoe UI" panose="020B0502040204020203" pitchFamily="34" charset="0"/>
                <a:sym typeface="Quattrocento Sans"/>
              </a:rPr>
              <a:t> etc.</a:t>
            </a:r>
          </a:p>
        </p:txBody>
      </p:sp>
      <p:sp>
        <p:nvSpPr>
          <p:cNvPr id="7" name="CaixaDeTexto 6">
            <a:extLst>
              <a:ext uri="{FF2B5EF4-FFF2-40B4-BE49-F238E27FC236}">
                <a16:creationId xmlns:a16="http://schemas.microsoft.com/office/drawing/2014/main" id="{434C2911-8809-9D1C-6A99-B5CAD1059803}"/>
              </a:ext>
            </a:extLst>
          </p:cNvPr>
          <p:cNvSpPr txBox="1"/>
          <p:nvPr/>
        </p:nvSpPr>
        <p:spPr>
          <a:xfrm>
            <a:off x="2355528" y="2671761"/>
            <a:ext cx="2848013" cy="178510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spcBef>
                <a:spcPts val="600"/>
              </a:spcBef>
              <a:buClr>
                <a:srgbClr val="562B35"/>
              </a:buClr>
            </a:pPr>
            <a:r>
              <a:rPr lang="pt-BR" b="1" dirty="0">
                <a:solidFill>
                  <a:srgbClr val="FFC000"/>
                </a:solidFill>
                <a:latin typeface="Candara" panose="020E0502030303020204" pitchFamily="34" charset="0"/>
                <a:ea typeface="Quattrocento Sans"/>
                <a:cs typeface="Segoe UI" panose="020B0502040204020203" pitchFamily="34" charset="0"/>
                <a:sym typeface="Quattrocento Sans"/>
              </a:rPr>
              <a:t>Exemplos:</a:t>
            </a:r>
          </a:p>
          <a:p>
            <a:pPr marL="360000" lvl="0" indent="-360000">
              <a:spcBef>
                <a:spcPts val="600"/>
              </a:spcBef>
              <a:buClr>
                <a:srgbClr val="FBFBFB"/>
              </a:buClr>
              <a:buFont typeface="Arial" panose="020B0604020202020204" pitchFamily="34" charset="0"/>
              <a:buChar char="•"/>
            </a:pPr>
            <a:r>
              <a:rPr lang="pt-BR" dirty="0">
                <a:solidFill>
                  <a:srgbClr val="FFC000"/>
                </a:solidFill>
                <a:latin typeface="Candara" panose="020E0502030303020204" pitchFamily="34" charset="0"/>
                <a:ea typeface="Quattrocento Sans"/>
                <a:cs typeface="Segoe UI" panose="020B0502040204020203" pitchFamily="34" charset="0"/>
                <a:sym typeface="Quattrocento Sans"/>
              </a:rPr>
              <a:t>TV;</a:t>
            </a:r>
          </a:p>
          <a:p>
            <a:pPr marL="360000" lvl="0" indent="-360000">
              <a:spcBef>
                <a:spcPts val="600"/>
              </a:spcBef>
              <a:buClr>
                <a:srgbClr val="FBFBFB"/>
              </a:buClr>
              <a:buFont typeface="Arial" panose="020B0604020202020204" pitchFamily="34" charset="0"/>
              <a:buChar char="•"/>
            </a:pPr>
            <a:r>
              <a:rPr lang="pt-BR" dirty="0">
                <a:solidFill>
                  <a:srgbClr val="FFC000"/>
                </a:solidFill>
                <a:latin typeface="Candara" panose="020E0502030303020204" pitchFamily="34" charset="0"/>
                <a:ea typeface="Quattrocento Sans"/>
                <a:cs typeface="Segoe UI" panose="020B0502040204020203" pitchFamily="34" charset="0"/>
                <a:sym typeface="Quattrocento Sans"/>
              </a:rPr>
              <a:t>Ar condicionado;</a:t>
            </a:r>
          </a:p>
          <a:p>
            <a:pPr marL="720000" lvl="0" indent="-360000">
              <a:spcBef>
                <a:spcPts val="600"/>
              </a:spcBef>
              <a:buClr>
                <a:srgbClr val="FBFBFB"/>
              </a:buClr>
              <a:buFont typeface="Arial" panose="020B0604020202020204" pitchFamily="34" charset="0"/>
              <a:buChar char="•"/>
            </a:pPr>
            <a:r>
              <a:rPr lang="pt-BR" dirty="0">
                <a:solidFill>
                  <a:srgbClr val="FFC000"/>
                </a:solidFill>
                <a:latin typeface="Candara" panose="020E0502030303020204" pitchFamily="34" charset="0"/>
                <a:ea typeface="Quattrocento Sans"/>
                <a:cs typeface="Segoe UI" panose="020B0502040204020203" pitchFamily="34" charset="0"/>
                <a:sym typeface="Quattrocento Sans"/>
              </a:rPr>
              <a:t>Home </a:t>
            </a:r>
            <a:r>
              <a:rPr lang="pt-BR" dirty="0" err="1">
                <a:solidFill>
                  <a:srgbClr val="FFC000"/>
                </a:solidFill>
                <a:latin typeface="Candara" panose="020E0502030303020204" pitchFamily="34" charset="0"/>
                <a:ea typeface="Quattrocento Sans"/>
                <a:cs typeface="Segoe UI" panose="020B0502040204020203" pitchFamily="34" charset="0"/>
                <a:sym typeface="Quattrocento Sans"/>
              </a:rPr>
              <a:t>theater</a:t>
            </a:r>
            <a:r>
              <a:rPr lang="pt-BR" dirty="0">
                <a:solidFill>
                  <a:srgbClr val="FFC000"/>
                </a:solidFill>
                <a:latin typeface="Candara" panose="020E0502030303020204" pitchFamily="34" charset="0"/>
                <a:ea typeface="Quattrocento Sans"/>
                <a:cs typeface="Segoe UI" panose="020B0502040204020203" pitchFamily="34" charset="0"/>
                <a:sym typeface="Quattrocento Sans"/>
              </a:rPr>
              <a:t>;</a:t>
            </a:r>
          </a:p>
          <a:p>
            <a:pPr marL="1800000" lvl="0" indent="-360000">
              <a:spcBef>
                <a:spcPts val="600"/>
              </a:spcBef>
              <a:buClr>
                <a:srgbClr val="FBFBFB"/>
              </a:buClr>
              <a:buFont typeface="Arial" panose="020B0604020202020204" pitchFamily="34" charset="0"/>
              <a:buChar char="•"/>
            </a:pPr>
            <a:r>
              <a:rPr lang="pt-BR" dirty="0">
                <a:solidFill>
                  <a:srgbClr val="FFC000"/>
                </a:solidFill>
                <a:latin typeface="Candara" panose="020E0502030303020204" pitchFamily="34" charset="0"/>
                <a:ea typeface="Quattrocento Sans"/>
                <a:cs typeface="Segoe UI" panose="020B0502040204020203" pitchFamily="34" charset="0"/>
                <a:sym typeface="Quattrocento Sans"/>
              </a:rPr>
              <a:t>Outros.</a:t>
            </a:r>
          </a:p>
        </p:txBody>
      </p:sp>
      <p:sp>
        <p:nvSpPr>
          <p:cNvPr id="8" name="CaixaDeTexto 7">
            <a:extLst>
              <a:ext uri="{FF2B5EF4-FFF2-40B4-BE49-F238E27FC236}">
                <a16:creationId xmlns:a16="http://schemas.microsoft.com/office/drawing/2014/main" id="{04959EED-B589-E8D8-966D-2B053C90B011}"/>
              </a:ext>
            </a:extLst>
          </p:cNvPr>
          <p:cNvSpPr txBox="1"/>
          <p:nvPr/>
        </p:nvSpPr>
        <p:spPr>
          <a:xfrm>
            <a:off x="5784041" y="2448621"/>
            <a:ext cx="4502816" cy="284693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spcBef>
                <a:spcPts val="600"/>
              </a:spcBef>
              <a:buClr>
                <a:srgbClr val="562B35"/>
              </a:buClr>
            </a:pPr>
            <a:r>
              <a:rPr lang="pt-BR" b="1" dirty="0">
                <a:solidFill>
                  <a:schemeClr val="bg2"/>
                </a:solidFill>
                <a:latin typeface="Candara" panose="020E0502030303020204" pitchFamily="34" charset="0"/>
                <a:ea typeface="Quattrocento Sans"/>
                <a:cs typeface="Segoe UI" panose="020B0502040204020203" pitchFamily="34" charset="0"/>
                <a:sym typeface="Quattrocento Sans"/>
              </a:rPr>
              <a:t>Características e possibilidades:</a:t>
            </a:r>
          </a:p>
          <a:p>
            <a:pPr marL="360000" lvl="0" indent="-360000">
              <a:spcBef>
                <a:spcPts val="600"/>
              </a:spcBef>
              <a:spcAft>
                <a:spcPts val="600"/>
              </a:spcAft>
              <a:buClr>
                <a:srgbClr val="F1F1F3"/>
              </a:buClr>
              <a:buFont typeface="Arial" panose="020B0604020202020204" pitchFamily="34" charset="0"/>
              <a:buChar char="•"/>
            </a:pPr>
            <a:r>
              <a:rPr lang="pt-BR" dirty="0">
                <a:solidFill>
                  <a:srgbClr val="FFC000"/>
                </a:solidFill>
                <a:latin typeface="Candara" panose="020E0502030303020204" pitchFamily="34" charset="0"/>
                <a:ea typeface="Quattrocento Sans"/>
                <a:cs typeface="Segoe UI" panose="020B0502040204020203" pitchFamily="34" charset="0"/>
                <a:sym typeface="Quattrocento Sans"/>
              </a:rPr>
              <a:t>É possível ligar ou desligar dispositivos remotamente ou por comando de voz;</a:t>
            </a:r>
          </a:p>
          <a:p>
            <a:pPr marL="360000" lvl="0" indent="-360000">
              <a:spcBef>
                <a:spcPts val="600"/>
              </a:spcBef>
              <a:spcAft>
                <a:spcPts val="600"/>
              </a:spcAft>
              <a:buClr>
                <a:srgbClr val="F1F1F3"/>
              </a:buClr>
              <a:buFont typeface="Arial" panose="020B0604020202020204" pitchFamily="34" charset="0"/>
              <a:buChar char="•"/>
            </a:pPr>
            <a:r>
              <a:rPr lang="pt-BR" dirty="0">
                <a:solidFill>
                  <a:srgbClr val="FFC000"/>
                </a:solidFill>
                <a:latin typeface="Candara" panose="020E0502030303020204" pitchFamily="34" charset="0"/>
                <a:ea typeface="Quattrocento Sans"/>
                <a:cs typeface="Segoe UI" panose="020B0502040204020203" pitchFamily="34" charset="0"/>
                <a:sym typeface="Quattrocento Sans"/>
              </a:rPr>
              <a:t>Não há limite de aparelhos no </a:t>
            </a:r>
            <a:br>
              <a:rPr lang="pt-BR" dirty="0">
                <a:solidFill>
                  <a:srgbClr val="FFC000"/>
                </a:solidFill>
                <a:latin typeface="Candara" panose="020E0502030303020204" pitchFamily="34" charset="0"/>
                <a:ea typeface="Quattrocento Sans"/>
                <a:cs typeface="Segoe UI" panose="020B0502040204020203" pitchFamily="34" charset="0"/>
                <a:sym typeface="Quattrocento Sans"/>
              </a:rPr>
            </a:br>
            <a:r>
              <a:rPr lang="pt-BR" dirty="0">
                <a:solidFill>
                  <a:srgbClr val="FFC000"/>
                </a:solidFill>
                <a:latin typeface="Candara" panose="020E0502030303020204" pitchFamily="34" charset="0"/>
                <a:ea typeface="Quattrocento Sans"/>
                <a:cs typeface="Segoe UI" panose="020B0502040204020203" pitchFamily="34" charset="0"/>
                <a:sym typeface="Quattrocento Sans"/>
              </a:rPr>
              <a:t>mesmo ambiente;</a:t>
            </a:r>
          </a:p>
          <a:p>
            <a:pPr marL="360000" lvl="0" indent="-360000">
              <a:spcBef>
                <a:spcPts val="600"/>
              </a:spcBef>
              <a:spcAft>
                <a:spcPts val="600"/>
              </a:spcAft>
              <a:buClr>
                <a:srgbClr val="F1F1F3"/>
              </a:buClr>
              <a:buFont typeface="Arial" panose="020B0604020202020204" pitchFamily="34" charset="0"/>
              <a:buChar char="•"/>
            </a:pPr>
            <a:r>
              <a:rPr lang="pt-BR" dirty="0">
                <a:solidFill>
                  <a:srgbClr val="FFC000"/>
                </a:solidFill>
                <a:latin typeface="Candara" panose="020E0502030303020204" pitchFamily="34" charset="0"/>
                <a:ea typeface="Quattrocento Sans"/>
                <a:cs typeface="Segoe UI" panose="020B0502040204020203" pitchFamily="34" charset="0"/>
                <a:sym typeface="Quattrocento Sans"/>
              </a:rPr>
              <a:t>Funciona via Wi-Fi, com alcance </a:t>
            </a:r>
            <a:br>
              <a:rPr lang="pt-BR" dirty="0">
                <a:solidFill>
                  <a:srgbClr val="FFC000"/>
                </a:solidFill>
                <a:latin typeface="Candara" panose="020E0502030303020204" pitchFamily="34" charset="0"/>
                <a:ea typeface="Quattrocento Sans"/>
                <a:cs typeface="Segoe UI" panose="020B0502040204020203" pitchFamily="34" charset="0"/>
                <a:sym typeface="Quattrocento Sans"/>
              </a:rPr>
            </a:br>
            <a:r>
              <a:rPr lang="pt-BR" dirty="0">
                <a:solidFill>
                  <a:srgbClr val="FFC000"/>
                </a:solidFill>
                <a:latin typeface="Candara" panose="020E0502030303020204" pitchFamily="34" charset="0"/>
                <a:ea typeface="Quattrocento Sans"/>
                <a:cs typeface="Segoe UI" panose="020B0502040204020203" pitchFamily="34" charset="0"/>
                <a:sym typeface="Quattrocento Sans"/>
              </a:rPr>
              <a:t>de até 45 metros;</a:t>
            </a:r>
          </a:p>
          <a:p>
            <a:pPr marL="360000" lvl="0" indent="-360000">
              <a:spcBef>
                <a:spcPts val="600"/>
              </a:spcBef>
              <a:spcAft>
                <a:spcPts val="600"/>
              </a:spcAft>
              <a:buClr>
                <a:srgbClr val="F1F1F3"/>
              </a:buClr>
              <a:buFont typeface="Arial" panose="020B0604020202020204" pitchFamily="34" charset="0"/>
              <a:buChar char="•"/>
            </a:pPr>
            <a:r>
              <a:rPr lang="pt-BR" dirty="0">
                <a:solidFill>
                  <a:srgbClr val="FFC000"/>
                </a:solidFill>
                <a:latin typeface="Candara" panose="020E0502030303020204" pitchFamily="34" charset="0"/>
                <a:ea typeface="Quattrocento Sans"/>
                <a:cs typeface="Segoe UI" panose="020B0502040204020203" pitchFamily="34" charset="0"/>
                <a:sym typeface="Quattrocento Sans"/>
              </a:rPr>
              <a:t>Alcance infravermelho de 8 metros.</a:t>
            </a:r>
          </a:p>
        </p:txBody>
      </p:sp>
      <p:sp>
        <p:nvSpPr>
          <p:cNvPr id="9" name="CaixaDeTexto 8">
            <a:extLst>
              <a:ext uri="{FF2B5EF4-FFF2-40B4-BE49-F238E27FC236}">
                <a16:creationId xmlns:a16="http://schemas.microsoft.com/office/drawing/2014/main" id="{1B23A5FD-A022-F112-54A7-922740039081}"/>
              </a:ext>
            </a:extLst>
          </p:cNvPr>
          <p:cNvSpPr txBox="1"/>
          <p:nvPr/>
        </p:nvSpPr>
        <p:spPr>
          <a:xfrm>
            <a:off x="3355945" y="5949576"/>
            <a:ext cx="613602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Bef>
                <a:spcPts val="1200"/>
              </a:spcBef>
              <a:buClr>
                <a:srgbClr val="562B35"/>
              </a:buClr>
            </a:pPr>
            <a:r>
              <a:rPr lang="pt-BR" dirty="0">
                <a:solidFill>
                  <a:srgbClr val="FFC000"/>
                </a:solidFill>
                <a:latin typeface="Candara" panose="020E0502030303020204" pitchFamily="34" charset="0"/>
                <a:ea typeface="Quattrocento Sans"/>
                <a:cs typeface="Segoe UI" panose="020B0502040204020203" pitchFamily="34" charset="0"/>
                <a:sym typeface="Quattrocento Sans"/>
              </a:rPr>
              <a:t>Compatível com Google </a:t>
            </a:r>
            <a:r>
              <a:rPr lang="pt-BR" dirty="0" err="1">
                <a:solidFill>
                  <a:srgbClr val="FFC000"/>
                </a:solidFill>
                <a:latin typeface="Candara" panose="020E0502030303020204" pitchFamily="34" charset="0"/>
                <a:ea typeface="Quattrocento Sans"/>
                <a:cs typeface="Segoe UI" panose="020B0502040204020203" pitchFamily="34" charset="0"/>
                <a:sym typeface="Quattrocento Sans"/>
              </a:rPr>
              <a:t>Assistant</a:t>
            </a:r>
            <a:r>
              <a:rPr lang="pt-BR" dirty="0">
                <a:solidFill>
                  <a:srgbClr val="FFC000"/>
                </a:solidFill>
                <a:latin typeface="Candara" panose="020E0502030303020204" pitchFamily="34" charset="0"/>
                <a:ea typeface="Quattrocento Sans"/>
                <a:cs typeface="Segoe UI" panose="020B0502040204020203" pitchFamily="34" charset="0"/>
                <a:sym typeface="Quattrocento Sans"/>
              </a:rPr>
              <a:t>, Siri e </a:t>
            </a:r>
            <a:r>
              <a:rPr lang="pt-BR" dirty="0" err="1">
                <a:solidFill>
                  <a:srgbClr val="FFC000"/>
                </a:solidFill>
                <a:latin typeface="Candara" panose="020E0502030303020204" pitchFamily="34" charset="0"/>
                <a:ea typeface="Quattrocento Sans"/>
                <a:cs typeface="Segoe UI" panose="020B0502040204020203" pitchFamily="34" charset="0"/>
                <a:sym typeface="Quattrocento Sans"/>
              </a:rPr>
              <a:t>Amazon</a:t>
            </a:r>
            <a:r>
              <a:rPr lang="pt-BR" dirty="0">
                <a:solidFill>
                  <a:srgbClr val="FFC000"/>
                </a:solidFill>
                <a:latin typeface="Candara" panose="020E0502030303020204" pitchFamily="34" charset="0"/>
                <a:ea typeface="Quattrocento Sans"/>
                <a:cs typeface="Segoe UI" panose="020B0502040204020203" pitchFamily="34" charset="0"/>
                <a:sym typeface="Quattrocento Sans"/>
              </a:rPr>
              <a:t> </a:t>
            </a:r>
            <a:r>
              <a:rPr lang="pt-BR" dirty="0" err="1">
                <a:solidFill>
                  <a:srgbClr val="FFC000"/>
                </a:solidFill>
                <a:latin typeface="Candara" panose="020E0502030303020204" pitchFamily="34" charset="0"/>
                <a:ea typeface="Quattrocento Sans"/>
                <a:cs typeface="Segoe UI" panose="020B0502040204020203" pitchFamily="34" charset="0"/>
                <a:sym typeface="Quattrocento Sans"/>
              </a:rPr>
              <a:t>Alexa</a:t>
            </a:r>
            <a:r>
              <a:rPr lang="pt-BR" dirty="0">
                <a:solidFill>
                  <a:srgbClr val="FFC000"/>
                </a:solidFill>
                <a:latin typeface="Candara" panose="020E0502030303020204" pitchFamily="34" charset="0"/>
                <a:ea typeface="Quattrocento Sans"/>
                <a:cs typeface="Segoe UI" panose="020B0502040204020203" pitchFamily="34" charset="0"/>
                <a:sym typeface="Quattrocento Sans"/>
              </a:rPr>
              <a:t>.</a:t>
            </a:r>
          </a:p>
        </p:txBody>
      </p:sp>
      <p:pic>
        <p:nvPicPr>
          <p:cNvPr id="10" name="Imagem 9">
            <a:hlinkClick r:id="rId6"/>
            <a:extLst>
              <a:ext uri="{FF2B5EF4-FFF2-40B4-BE49-F238E27FC236}">
                <a16:creationId xmlns:a16="http://schemas.microsoft.com/office/drawing/2014/main" id="{24BEA697-D559-BA8B-2B72-577D20355986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40936" y="4259337"/>
            <a:ext cx="3528414" cy="18844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0316252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  <p:bldP spid="8" grpId="0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09A6C195-224A-8DE6-D0D9-6F60050441B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m 2" descr="Interface gráfica do usuário&#10;&#10;O conteúdo gerado por IA pode estar incorreto.">
            <a:extLst>
              <a:ext uri="{FF2B5EF4-FFF2-40B4-BE49-F238E27FC236}">
                <a16:creationId xmlns:a16="http://schemas.microsoft.com/office/drawing/2014/main" id="{80327842-B6E0-DFEF-92C7-D6DDE363A72E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6447" y="248306"/>
            <a:ext cx="1371600" cy="561358"/>
          </a:xfrm>
          <a:prstGeom prst="rect">
            <a:avLst/>
          </a:prstGeom>
        </p:spPr>
      </p:pic>
      <p:pic>
        <p:nvPicPr>
          <p:cNvPr id="1026" name="Picture 2" descr="logo claro PNG &amp; clipart images | Citypng">
            <a:extLst>
              <a:ext uri="{FF2B5EF4-FFF2-40B4-BE49-F238E27FC236}">
                <a16:creationId xmlns:a16="http://schemas.microsoft.com/office/drawing/2014/main" id="{664F71B8-9467-A865-DE29-CC21C1E59C67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ackgroundRemoval t="8875" b="90500" l="9625" r="90375">
                        <a14:foregroundMark x1="35125" y1="42750" x2="35125" y2="42750"/>
                        <a14:foregroundMark x1="35250" y1="45125" x2="33750" y2="54125"/>
                        <a14:foregroundMark x1="33750" y1="54125" x2="41375" y2="48750"/>
                        <a14:foregroundMark x1="41375" y1="48750" x2="36875" y2="40375"/>
                        <a14:foregroundMark x1="36875" y1="40375" x2="31375" y2="43625"/>
                        <a14:foregroundMark x1="22000" y1="41875" x2="12375" y2="50500"/>
                        <a14:foregroundMark x1="12375" y1="50500" x2="25625" y2="62375"/>
                        <a14:foregroundMark x1="25625" y1="62375" x2="52750" y2="64125"/>
                        <a14:foregroundMark x1="52750" y1="64125" x2="73500" y2="62500"/>
                        <a14:foregroundMark x1="73500" y1="62500" x2="87375" y2="56375"/>
                        <a14:foregroundMark x1="87375" y1="56375" x2="87125" y2="45625"/>
                        <a14:foregroundMark x1="87125" y1="45625" x2="84625" y2="37625"/>
                        <a14:foregroundMark x1="84625" y1="37625" x2="76500" y2="32125"/>
                        <a14:foregroundMark x1="76500" y1="32125" x2="57500" y2="27250"/>
                        <a14:foregroundMark x1="57500" y1="27250" x2="20250" y2="28750"/>
                        <a14:foregroundMark x1="20250" y1="28750" x2="15750" y2="38375"/>
                        <a14:foregroundMark x1="15750" y1="38375" x2="12250" y2="41125"/>
                        <a14:foregroundMark x1="28375" y1="36125" x2="17625" y2="48125"/>
                        <a14:foregroundMark x1="17625" y1="48125" x2="23875" y2="57625"/>
                        <a14:foregroundMark x1="23875" y1="57625" x2="34500" y2="44000"/>
                        <a14:foregroundMark x1="34500" y1="44000" x2="21250" y2="39375"/>
                        <a14:foregroundMark x1="21250" y1="39375" x2="19250" y2="41250"/>
                        <a14:foregroundMark x1="26250" y1="40250" x2="27375" y2="52750"/>
                        <a14:foregroundMark x1="27375" y1="52750" x2="28875" y2="40125"/>
                        <a14:foregroundMark x1="28875" y1="40125" x2="18750" y2="45500"/>
                        <a14:foregroundMark x1="18750" y1="45500" x2="20750" y2="48625"/>
                        <a14:foregroundMark x1="26875" y1="40625" x2="27375" y2="58250"/>
                        <a14:foregroundMark x1="27375" y1="58250" x2="30625" y2="48375"/>
                        <a14:foregroundMark x1="30625" y1="48375" x2="20375" y2="51125"/>
                        <a14:foregroundMark x1="20375" y1="51125" x2="20375" y2="52375"/>
                        <a14:foregroundMark x1="19125" y1="42500" x2="25500" y2="55125"/>
                        <a14:foregroundMark x1="25500" y1="55125" x2="25125" y2="59500"/>
                        <a14:foregroundMark x1="22250" y1="56750" x2="21750" y2="58125"/>
                        <a14:foregroundMark x1="38500" y1="39875" x2="29750" y2="53250"/>
                        <a14:foregroundMark x1="29750" y1="53250" x2="34875" y2="62125"/>
                        <a14:foregroundMark x1="34875" y1="62125" x2="39750" y2="49375"/>
                        <a14:foregroundMark x1="39750" y1="49375" x2="36125" y2="43000"/>
                        <a14:foregroundMark x1="43375" y1="42375" x2="41000" y2="60750"/>
                        <a14:foregroundMark x1="41000" y1="60750" x2="51625" y2="47750"/>
                        <a14:foregroundMark x1="51625" y1="47750" x2="43375" y2="46875"/>
                        <a14:foregroundMark x1="43375" y1="46875" x2="41375" y2="48000"/>
                        <a14:foregroundMark x1="47125" y1="50750" x2="48375" y2="59000"/>
                        <a14:foregroundMark x1="48375" y1="59000" x2="45125" y2="53500"/>
                        <a14:foregroundMark x1="53625" y1="43250" x2="52125" y2="50125"/>
                        <a14:foregroundMark x1="52125" y1="50125" x2="54125" y2="58375"/>
                        <a14:foregroundMark x1="54125" y1="58375" x2="58125" y2="50500"/>
                        <a14:foregroundMark x1="58125" y1="50500" x2="53250" y2="45125"/>
                        <a14:foregroundMark x1="53250" y1="45125" x2="51500" y2="45375"/>
                        <a14:foregroundMark x1="58625" y1="42000" x2="59750" y2="52125"/>
                        <a14:foregroundMark x1="59750" y1="52125" x2="57750" y2="45000"/>
                        <a14:foregroundMark x1="63000" y1="45375" x2="61000" y2="62375"/>
                        <a14:foregroundMark x1="61000" y1="62375" x2="73375" y2="56375"/>
                        <a14:foregroundMark x1="73375" y1="56375" x2="72000" y2="45625"/>
                        <a14:foregroundMark x1="72000" y1="45625" x2="64375" y2="43500"/>
                        <a14:foregroundMark x1="64375" y1="43500" x2="61750" y2="33375"/>
                        <a14:foregroundMark x1="61750" y1="33375" x2="72625" y2="31250"/>
                        <a14:foregroundMark x1="72625" y1="31250" x2="67750" y2="44000"/>
                        <a14:foregroundMark x1="67750" y1="44000" x2="73125" y2="38125"/>
                        <a14:foregroundMark x1="73125" y1="38125" x2="81750" y2="37125"/>
                        <a14:foregroundMark x1="81750" y1="37125" x2="77625" y2="50250"/>
                        <a14:foregroundMark x1="77625" y1="50250" x2="81750" y2="52375"/>
                        <a14:foregroundMark x1="68875" y1="31750" x2="67125" y2="43250"/>
                        <a14:foregroundMark x1="67125" y1="43250" x2="69125" y2="34625"/>
                        <a14:foregroundMark x1="78750" y1="32500" x2="75250" y2="44500"/>
                        <a14:foregroundMark x1="75250" y1="44500" x2="79875" y2="36750"/>
                        <a14:foregroundMark x1="79875" y1="36750" x2="76875" y2="36375"/>
                        <a14:foregroundMark x1="78750" y1="46625" x2="80125" y2="55500"/>
                        <a14:foregroundMark x1="80125" y1="55500" x2="80750" y2="46125"/>
                        <a14:foregroundMark x1="80750" y1="46125" x2="77750" y2="45875"/>
                        <a14:foregroundMark x1="90375" y1="44000" x2="88750" y2="56375"/>
                        <a14:foregroundMark x1="45750" y1="10250" x2="57875" y2="11500"/>
                        <a14:foregroundMark x1="54125" y1="8875" x2="53500" y2="9125"/>
                        <a14:foregroundMark x1="49500" y1="90500" x2="54125" y2="89500"/>
                        <a14:foregroundMark x1="9625" y1="49625" x2="11000" y2="47125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3256" t="7288" r="7881" b="3666"/>
          <a:stretch>
            <a:fillRect/>
          </a:stretch>
        </p:blipFill>
        <p:spPr bwMode="auto">
          <a:xfrm>
            <a:off x="11238614" y="5890437"/>
            <a:ext cx="733648" cy="7351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CaixaDeTexto 1">
            <a:extLst>
              <a:ext uri="{FF2B5EF4-FFF2-40B4-BE49-F238E27FC236}">
                <a16:creationId xmlns:a16="http://schemas.microsoft.com/office/drawing/2014/main" id="{C766BD44-8C87-724C-90F5-1E4442F3D348}"/>
              </a:ext>
            </a:extLst>
          </p:cNvPr>
          <p:cNvSpPr txBox="1"/>
          <p:nvPr/>
        </p:nvSpPr>
        <p:spPr>
          <a:xfrm>
            <a:off x="2355399" y="388821"/>
            <a:ext cx="736482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>
              <a:spcBef>
                <a:spcPts val="1200"/>
              </a:spcBef>
            </a:pPr>
            <a:r>
              <a:rPr lang="da-DK" sz="3600" b="1" i="1" dirty="0">
                <a:solidFill>
                  <a:schemeClr val="bg1">
                    <a:lumMod val="95000"/>
                  </a:schemeClr>
                </a:solidFill>
                <a:latin typeface="Candara" panose="020E0502030303020204" pitchFamily="34" charset="0"/>
                <a:ea typeface="Quattrocento Sans"/>
                <a:cs typeface="Times New Roman" panose="02020603050405020304" pitchFamily="18" charset="0"/>
                <a:sym typeface="Quattrocento Sans"/>
              </a:rPr>
              <a:t>Adptador de Tomada 10A </a:t>
            </a:r>
            <a:r>
              <a:rPr lang="da-DK" sz="2000" b="1" i="1" dirty="0">
                <a:solidFill>
                  <a:schemeClr val="bg1">
                    <a:lumMod val="95000"/>
                  </a:schemeClr>
                </a:solidFill>
                <a:latin typeface="Candara" panose="020E0502030303020204" pitchFamily="34" charset="0"/>
                <a:ea typeface="Quattrocento Sans"/>
                <a:cs typeface="Times New Roman" panose="02020603050405020304" pitchFamily="18" charset="0"/>
                <a:sym typeface="Quattrocento Sans"/>
              </a:rPr>
              <a:t> </a:t>
            </a:r>
          </a:p>
        </p:txBody>
      </p:sp>
      <p:pic>
        <p:nvPicPr>
          <p:cNvPr id="20" name="Imagem 19">
            <a:hlinkClick r:id="rId8"/>
            <a:extLst>
              <a:ext uri="{FF2B5EF4-FFF2-40B4-BE49-F238E27FC236}">
                <a16:creationId xmlns:a16="http://schemas.microsoft.com/office/drawing/2014/main" id="{884D446F-E7F2-1550-0733-0AF9FC621677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 rot="328715">
            <a:off x="11101564" y="166786"/>
            <a:ext cx="594251" cy="947200"/>
          </a:xfrm>
          <a:prstGeom prst="rect">
            <a:avLst/>
          </a:prstGeom>
        </p:spPr>
      </p:pic>
      <p:pic>
        <p:nvPicPr>
          <p:cNvPr id="4" name="Imagem 3">
            <a:hlinkClick r:id="rId10"/>
            <a:extLst>
              <a:ext uri="{FF2B5EF4-FFF2-40B4-BE49-F238E27FC236}">
                <a16:creationId xmlns:a16="http://schemas.microsoft.com/office/drawing/2014/main" id="{508D8638-0E83-3789-D8DC-B6F7FE93F38A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 rot="20684596">
            <a:off x="368464" y="794365"/>
            <a:ext cx="774339" cy="774339"/>
          </a:xfrm>
          <a:prstGeom prst="rect">
            <a:avLst/>
          </a:prstGeom>
        </p:spPr>
      </p:pic>
      <p:pic>
        <p:nvPicPr>
          <p:cNvPr id="10" name="WhatsApp Video 2024-10-03 at 09.34.19">
            <a:hlinkClick r:id="" action="ppaction://media"/>
            <a:extLst>
              <a:ext uri="{FF2B5EF4-FFF2-40B4-BE49-F238E27FC236}">
                <a16:creationId xmlns:a16="http://schemas.microsoft.com/office/drawing/2014/main" id="{9ED0D32C-AE80-CD54-A4E2-7790DE5FB3A0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12"/>
          <a:stretch>
            <a:fillRect/>
          </a:stretch>
        </p:blipFill>
        <p:spPr>
          <a:xfrm>
            <a:off x="1562469" y="1094554"/>
            <a:ext cx="9554889" cy="53746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12876693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79479" fill="hold"/>
                                        <p:tgtEl>
                                          <p:spTgt spid="10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seq concurrent="1" nextAc="seek">
              <p:cTn id="7" restart="whenNotActive" fill="hold" evtFilter="cancelBubble" nodeType="interactiveSeq">
                <p:stCondLst>
                  <p:cond evt="onClick" delay="0">
                    <p:tgtEl>
                      <p:spTgt spid="10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8" fill="hold">
                      <p:stCondLst>
                        <p:cond delay="0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1" dur="1" fill="hold"/>
                                        <p:tgtEl>
                                          <p:spTgt spid="10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10"/>
                  </p:tgtEl>
                </p:cond>
              </p:nextCondLst>
            </p:seq>
            <p:video>
              <p:cMediaNode vol="80000">
                <p:cTn id="12" fill="hold" display="0">
                  <p:stCondLst>
                    <p:cond delay="indefinite"/>
                  </p:stCondLst>
                </p:cTn>
                <p:tgtEl>
                  <p:spTgt spid="10"/>
                </p:tgtEl>
              </p:cMediaNode>
            </p:video>
          </p:childTnLst>
        </p:cTn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8E98E6B8-AF09-10F2-E11B-839FC77E662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m 2" descr="Interface gráfica do usuário&#10;&#10;O conteúdo gerado por IA pode estar incorreto.">
            <a:extLst>
              <a:ext uri="{FF2B5EF4-FFF2-40B4-BE49-F238E27FC236}">
                <a16:creationId xmlns:a16="http://schemas.microsoft.com/office/drawing/2014/main" id="{E1D12F1A-07E9-0700-1031-DDA09159433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6447" y="248306"/>
            <a:ext cx="1371600" cy="561358"/>
          </a:xfrm>
          <a:prstGeom prst="rect">
            <a:avLst/>
          </a:prstGeom>
        </p:spPr>
      </p:pic>
      <p:pic>
        <p:nvPicPr>
          <p:cNvPr id="1026" name="Picture 2" descr="logo claro PNG &amp; clipart images | Citypng">
            <a:extLst>
              <a:ext uri="{FF2B5EF4-FFF2-40B4-BE49-F238E27FC236}">
                <a16:creationId xmlns:a16="http://schemas.microsoft.com/office/drawing/2014/main" id="{EBFB45E0-8C2D-15B3-E6F4-C119F201D546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ackgroundRemoval t="8875" b="90500" l="9625" r="90375">
                        <a14:foregroundMark x1="35125" y1="42750" x2="35125" y2="42750"/>
                        <a14:foregroundMark x1="35250" y1="45125" x2="33750" y2="54125"/>
                        <a14:foregroundMark x1="33750" y1="54125" x2="41375" y2="48750"/>
                        <a14:foregroundMark x1="41375" y1="48750" x2="36875" y2="40375"/>
                        <a14:foregroundMark x1="36875" y1="40375" x2="31375" y2="43625"/>
                        <a14:foregroundMark x1="22000" y1="41875" x2="12375" y2="50500"/>
                        <a14:foregroundMark x1="12375" y1="50500" x2="25625" y2="62375"/>
                        <a14:foregroundMark x1="25625" y1="62375" x2="52750" y2="64125"/>
                        <a14:foregroundMark x1="52750" y1="64125" x2="73500" y2="62500"/>
                        <a14:foregroundMark x1="73500" y1="62500" x2="87375" y2="56375"/>
                        <a14:foregroundMark x1="87375" y1="56375" x2="87125" y2="45625"/>
                        <a14:foregroundMark x1="87125" y1="45625" x2="84625" y2="37625"/>
                        <a14:foregroundMark x1="84625" y1="37625" x2="76500" y2="32125"/>
                        <a14:foregroundMark x1="76500" y1="32125" x2="57500" y2="27250"/>
                        <a14:foregroundMark x1="57500" y1="27250" x2="20250" y2="28750"/>
                        <a14:foregroundMark x1="20250" y1="28750" x2="15750" y2="38375"/>
                        <a14:foregroundMark x1="15750" y1="38375" x2="12250" y2="41125"/>
                        <a14:foregroundMark x1="28375" y1="36125" x2="17625" y2="48125"/>
                        <a14:foregroundMark x1="17625" y1="48125" x2="23875" y2="57625"/>
                        <a14:foregroundMark x1="23875" y1="57625" x2="34500" y2="44000"/>
                        <a14:foregroundMark x1="34500" y1="44000" x2="21250" y2="39375"/>
                        <a14:foregroundMark x1="21250" y1="39375" x2="19250" y2="41250"/>
                        <a14:foregroundMark x1="26250" y1="40250" x2="27375" y2="52750"/>
                        <a14:foregroundMark x1="27375" y1="52750" x2="28875" y2="40125"/>
                        <a14:foregroundMark x1="28875" y1="40125" x2="18750" y2="45500"/>
                        <a14:foregroundMark x1="18750" y1="45500" x2="20750" y2="48625"/>
                        <a14:foregroundMark x1="26875" y1="40625" x2="27375" y2="58250"/>
                        <a14:foregroundMark x1="27375" y1="58250" x2="30625" y2="48375"/>
                        <a14:foregroundMark x1="30625" y1="48375" x2="20375" y2="51125"/>
                        <a14:foregroundMark x1="20375" y1="51125" x2="20375" y2="52375"/>
                        <a14:foregroundMark x1="19125" y1="42500" x2="25500" y2="55125"/>
                        <a14:foregroundMark x1="25500" y1="55125" x2="25125" y2="59500"/>
                        <a14:foregroundMark x1="22250" y1="56750" x2="21750" y2="58125"/>
                        <a14:foregroundMark x1="38500" y1="39875" x2="29750" y2="53250"/>
                        <a14:foregroundMark x1="29750" y1="53250" x2="34875" y2="62125"/>
                        <a14:foregroundMark x1="34875" y1="62125" x2="39750" y2="49375"/>
                        <a14:foregroundMark x1="39750" y1="49375" x2="36125" y2="43000"/>
                        <a14:foregroundMark x1="43375" y1="42375" x2="41000" y2="60750"/>
                        <a14:foregroundMark x1="41000" y1="60750" x2="51625" y2="47750"/>
                        <a14:foregroundMark x1="51625" y1="47750" x2="43375" y2="46875"/>
                        <a14:foregroundMark x1="43375" y1="46875" x2="41375" y2="48000"/>
                        <a14:foregroundMark x1="47125" y1="50750" x2="48375" y2="59000"/>
                        <a14:foregroundMark x1="48375" y1="59000" x2="45125" y2="53500"/>
                        <a14:foregroundMark x1="53625" y1="43250" x2="52125" y2="50125"/>
                        <a14:foregroundMark x1="52125" y1="50125" x2="54125" y2="58375"/>
                        <a14:foregroundMark x1="54125" y1="58375" x2="58125" y2="50500"/>
                        <a14:foregroundMark x1="58125" y1="50500" x2="53250" y2="45125"/>
                        <a14:foregroundMark x1="53250" y1="45125" x2="51500" y2="45375"/>
                        <a14:foregroundMark x1="58625" y1="42000" x2="59750" y2="52125"/>
                        <a14:foregroundMark x1="59750" y1="52125" x2="57750" y2="45000"/>
                        <a14:foregroundMark x1="63000" y1="45375" x2="61000" y2="62375"/>
                        <a14:foregroundMark x1="61000" y1="62375" x2="73375" y2="56375"/>
                        <a14:foregroundMark x1="73375" y1="56375" x2="72000" y2="45625"/>
                        <a14:foregroundMark x1="72000" y1="45625" x2="64375" y2="43500"/>
                        <a14:foregroundMark x1="64375" y1="43500" x2="61750" y2="33375"/>
                        <a14:foregroundMark x1="61750" y1="33375" x2="72625" y2="31250"/>
                        <a14:foregroundMark x1="72625" y1="31250" x2="67750" y2="44000"/>
                        <a14:foregroundMark x1="67750" y1="44000" x2="73125" y2="38125"/>
                        <a14:foregroundMark x1="73125" y1="38125" x2="81750" y2="37125"/>
                        <a14:foregroundMark x1="81750" y1="37125" x2="77625" y2="50250"/>
                        <a14:foregroundMark x1="77625" y1="50250" x2="81750" y2="52375"/>
                        <a14:foregroundMark x1="68875" y1="31750" x2="67125" y2="43250"/>
                        <a14:foregroundMark x1="67125" y1="43250" x2="69125" y2="34625"/>
                        <a14:foregroundMark x1="78750" y1="32500" x2="75250" y2="44500"/>
                        <a14:foregroundMark x1="75250" y1="44500" x2="79875" y2="36750"/>
                        <a14:foregroundMark x1="79875" y1="36750" x2="76875" y2="36375"/>
                        <a14:foregroundMark x1="78750" y1="46625" x2="80125" y2="55500"/>
                        <a14:foregroundMark x1="80125" y1="55500" x2="80750" y2="46125"/>
                        <a14:foregroundMark x1="80750" y1="46125" x2="77750" y2="45875"/>
                        <a14:foregroundMark x1="90375" y1="44000" x2="88750" y2="56375"/>
                        <a14:foregroundMark x1="45750" y1="10250" x2="57875" y2="11500"/>
                        <a14:foregroundMark x1="54125" y1="8875" x2="53500" y2="9125"/>
                        <a14:foregroundMark x1="49500" y1="90500" x2="54125" y2="89500"/>
                        <a14:foregroundMark x1="9625" y1="49625" x2="11000" y2="47125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3256" t="7288" r="7881" b="3666"/>
          <a:stretch>
            <a:fillRect/>
          </a:stretch>
        </p:blipFill>
        <p:spPr bwMode="auto">
          <a:xfrm>
            <a:off x="11238614" y="5890437"/>
            <a:ext cx="733648" cy="7351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CaixaDeTexto 1">
            <a:extLst>
              <a:ext uri="{FF2B5EF4-FFF2-40B4-BE49-F238E27FC236}">
                <a16:creationId xmlns:a16="http://schemas.microsoft.com/office/drawing/2014/main" id="{E46CCCB9-979F-8A1B-0FC1-7BB88F2C80F3}"/>
              </a:ext>
            </a:extLst>
          </p:cNvPr>
          <p:cNvSpPr txBox="1"/>
          <p:nvPr/>
        </p:nvSpPr>
        <p:spPr>
          <a:xfrm>
            <a:off x="2413588" y="3028890"/>
            <a:ext cx="736482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>
              <a:spcBef>
                <a:spcPts val="1200"/>
              </a:spcBef>
            </a:pPr>
            <a:r>
              <a:rPr lang="da-DK" sz="3600" b="1" i="1" dirty="0">
                <a:solidFill>
                  <a:schemeClr val="bg1">
                    <a:lumMod val="95000"/>
                  </a:schemeClr>
                </a:solidFill>
                <a:latin typeface="Candara" panose="020E0502030303020204" pitchFamily="34" charset="0"/>
                <a:ea typeface="Quattrocento Sans"/>
                <a:cs typeface="Times New Roman" panose="02020603050405020304" pitchFamily="18" charset="0"/>
                <a:sym typeface="Quattrocento Sans"/>
              </a:rPr>
              <a:t>Monitoramento  </a:t>
            </a:r>
            <a:r>
              <a:rPr lang="da-DK" sz="2000" b="1" i="1" dirty="0">
                <a:solidFill>
                  <a:schemeClr val="bg1">
                    <a:lumMod val="95000"/>
                  </a:schemeClr>
                </a:solidFill>
                <a:latin typeface="Candara" panose="020E0502030303020204" pitchFamily="34" charset="0"/>
                <a:ea typeface="Quattrocento Sans"/>
                <a:cs typeface="Times New Roman" panose="02020603050405020304" pitchFamily="18" charset="0"/>
                <a:sym typeface="Quattrocento Sans"/>
              </a:rPr>
              <a:t> </a:t>
            </a:r>
          </a:p>
        </p:txBody>
      </p:sp>
      <p:pic>
        <p:nvPicPr>
          <p:cNvPr id="20" name="Imagem 19">
            <a:hlinkClick r:id="rId6"/>
            <a:extLst>
              <a:ext uri="{FF2B5EF4-FFF2-40B4-BE49-F238E27FC236}">
                <a16:creationId xmlns:a16="http://schemas.microsoft.com/office/drawing/2014/main" id="{E951C764-255F-285D-DD07-494F646E8173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 rot="328715">
            <a:off x="11101564" y="166786"/>
            <a:ext cx="594251" cy="947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4725064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B0353617-BA75-B6A7-BDE1-99A061BB62B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m 2" descr="Interface gráfica do usuário&#10;&#10;O conteúdo gerado por IA pode estar incorreto.">
            <a:extLst>
              <a:ext uri="{FF2B5EF4-FFF2-40B4-BE49-F238E27FC236}">
                <a16:creationId xmlns:a16="http://schemas.microsoft.com/office/drawing/2014/main" id="{D98785ED-239D-2814-A744-C265E656AB4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6447" y="248306"/>
            <a:ext cx="1371600" cy="561358"/>
          </a:xfrm>
          <a:prstGeom prst="rect">
            <a:avLst/>
          </a:prstGeom>
        </p:spPr>
      </p:pic>
      <p:pic>
        <p:nvPicPr>
          <p:cNvPr id="1026" name="Picture 2" descr="logo claro PNG &amp; clipart images | Citypng">
            <a:extLst>
              <a:ext uri="{FF2B5EF4-FFF2-40B4-BE49-F238E27FC236}">
                <a16:creationId xmlns:a16="http://schemas.microsoft.com/office/drawing/2014/main" id="{479394F6-F5AD-481C-BF81-7B4203E4217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ackgroundRemoval t="8875" b="90500" l="9625" r="90375">
                        <a14:foregroundMark x1="35125" y1="42750" x2="35125" y2="42750"/>
                        <a14:foregroundMark x1="35250" y1="45125" x2="33750" y2="54125"/>
                        <a14:foregroundMark x1="33750" y1="54125" x2="41375" y2="48750"/>
                        <a14:foregroundMark x1="41375" y1="48750" x2="36875" y2="40375"/>
                        <a14:foregroundMark x1="36875" y1="40375" x2="31375" y2="43625"/>
                        <a14:foregroundMark x1="22000" y1="41875" x2="12375" y2="50500"/>
                        <a14:foregroundMark x1="12375" y1="50500" x2="25625" y2="62375"/>
                        <a14:foregroundMark x1="25625" y1="62375" x2="52750" y2="64125"/>
                        <a14:foregroundMark x1="52750" y1="64125" x2="73500" y2="62500"/>
                        <a14:foregroundMark x1="73500" y1="62500" x2="87375" y2="56375"/>
                        <a14:foregroundMark x1="87375" y1="56375" x2="87125" y2="45625"/>
                        <a14:foregroundMark x1="87125" y1="45625" x2="84625" y2="37625"/>
                        <a14:foregroundMark x1="84625" y1="37625" x2="76500" y2="32125"/>
                        <a14:foregroundMark x1="76500" y1="32125" x2="57500" y2="27250"/>
                        <a14:foregroundMark x1="57500" y1="27250" x2="20250" y2="28750"/>
                        <a14:foregroundMark x1="20250" y1="28750" x2="15750" y2="38375"/>
                        <a14:foregroundMark x1="15750" y1="38375" x2="12250" y2="41125"/>
                        <a14:foregroundMark x1="28375" y1="36125" x2="17625" y2="48125"/>
                        <a14:foregroundMark x1="17625" y1="48125" x2="23875" y2="57625"/>
                        <a14:foregroundMark x1="23875" y1="57625" x2="34500" y2="44000"/>
                        <a14:foregroundMark x1="34500" y1="44000" x2="21250" y2="39375"/>
                        <a14:foregroundMark x1="21250" y1="39375" x2="19250" y2="41250"/>
                        <a14:foregroundMark x1="26250" y1="40250" x2="27375" y2="52750"/>
                        <a14:foregroundMark x1="27375" y1="52750" x2="28875" y2="40125"/>
                        <a14:foregroundMark x1="28875" y1="40125" x2="18750" y2="45500"/>
                        <a14:foregroundMark x1="18750" y1="45500" x2="20750" y2="48625"/>
                        <a14:foregroundMark x1="26875" y1="40625" x2="27375" y2="58250"/>
                        <a14:foregroundMark x1="27375" y1="58250" x2="30625" y2="48375"/>
                        <a14:foregroundMark x1="30625" y1="48375" x2="20375" y2="51125"/>
                        <a14:foregroundMark x1="20375" y1="51125" x2="20375" y2="52375"/>
                        <a14:foregroundMark x1="19125" y1="42500" x2="25500" y2="55125"/>
                        <a14:foregroundMark x1="25500" y1="55125" x2="25125" y2="59500"/>
                        <a14:foregroundMark x1="22250" y1="56750" x2="21750" y2="58125"/>
                        <a14:foregroundMark x1="38500" y1="39875" x2="29750" y2="53250"/>
                        <a14:foregroundMark x1="29750" y1="53250" x2="34875" y2="62125"/>
                        <a14:foregroundMark x1="34875" y1="62125" x2="39750" y2="49375"/>
                        <a14:foregroundMark x1="39750" y1="49375" x2="36125" y2="43000"/>
                        <a14:foregroundMark x1="43375" y1="42375" x2="41000" y2="60750"/>
                        <a14:foregroundMark x1="41000" y1="60750" x2="51625" y2="47750"/>
                        <a14:foregroundMark x1="51625" y1="47750" x2="43375" y2="46875"/>
                        <a14:foregroundMark x1="43375" y1="46875" x2="41375" y2="48000"/>
                        <a14:foregroundMark x1="47125" y1="50750" x2="48375" y2="59000"/>
                        <a14:foregroundMark x1="48375" y1="59000" x2="45125" y2="53500"/>
                        <a14:foregroundMark x1="53625" y1="43250" x2="52125" y2="50125"/>
                        <a14:foregroundMark x1="52125" y1="50125" x2="54125" y2="58375"/>
                        <a14:foregroundMark x1="54125" y1="58375" x2="58125" y2="50500"/>
                        <a14:foregroundMark x1="58125" y1="50500" x2="53250" y2="45125"/>
                        <a14:foregroundMark x1="53250" y1="45125" x2="51500" y2="45375"/>
                        <a14:foregroundMark x1="58625" y1="42000" x2="59750" y2="52125"/>
                        <a14:foregroundMark x1="59750" y1="52125" x2="57750" y2="45000"/>
                        <a14:foregroundMark x1="63000" y1="45375" x2="61000" y2="62375"/>
                        <a14:foregroundMark x1="61000" y1="62375" x2="73375" y2="56375"/>
                        <a14:foregroundMark x1="73375" y1="56375" x2="72000" y2="45625"/>
                        <a14:foregroundMark x1="72000" y1="45625" x2="64375" y2="43500"/>
                        <a14:foregroundMark x1="64375" y1="43500" x2="61750" y2="33375"/>
                        <a14:foregroundMark x1="61750" y1="33375" x2="72625" y2="31250"/>
                        <a14:foregroundMark x1="72625" y1="31250" x2="67750" y2="44000"/>
                        <a14:foregroundMark x1="67750" y1="44000" x2="73125" y2="38125"/>
                        <a14:foregroundMark x1="73125" y1="38125" x2="81750" y2="37125"/>
                        <a14:foregroundMark x1="81750" y1="37125" x2="77625" y2="50250"/>
                        <a14:foregroundMark x1="77625" y1="50250" x2="81750" y2="52375"/>
                        <a14:foregroundMark x1="68875" y1="31750" x2="67125" y2="43250"/>
                        <a14:foregroundMark x1="67125" y1="43250" x2="69125" y2="34625"/>
                        <a14:foregroundMark x1="78750" y1="32500" x2="75250" y2="44500"/>
                        <a14:foregroundMark x1="75250" y1="44500" x2="79875" y2="36750"/>
                        <a14:foregroundMark x1="79875" y1="36750" x2="76875" y2="36375"/>
                        <a14:foregroundMark x1="78750" y1="46625" x2="80125" y2="55500"/>
                        <a14:foregroundMark x1="80125" y1="55500" x2="80750" y2="46125"/>
                        <a14:foregroundMark x1="80750" y1="46125" x2="77750" y2="45875"/>
                        <a14:foregroundMark x1="90375" y1="44000" x2="88750" y2="56375"/>
                        <a14:foregroundMark x1="45750" y1="10250" x2="57875" y2="11500"/>
                        <a14:foregroundMark x1="54125" y1="8875" x2="53500" y2="9125"/>
                        <a14:foregroundMark x1="49500" y1="90500" x2="54125" y2="89500"/>
                        <a14:foregroundMark x1="9625" y1="49625" x2="11000" y2="47125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3256" t="7288" r="7881" b="3666"/>
          <a:stretch>
            <a:fillRect/>
          </a:stretch>
        </p:blipFill>
        <p:spPr bwMode="auto">
          <a:xfrm>
            <a:off x="11238614" y="5890437"/>
            <a:ext cx="733648" cy="7351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" name="Imagem 19">
            <a:hlinkClick r:id="rId6"/>
            <a:extLst>
              <a:ext uri="{FF2B5EF4-FFF2-40B4-BE49-F238E27FC236}">
                <a16:creationId xmlns:a16="http://schemas.microsoft.com/office/drawing/2014/main" id="{2DF8C502-3914-AD49-AA91-8265B47B90E6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 rot="328715">
            <a:off x="11101564" y="166786"/>
            <a:ext cx="594251" cy="947200"/>
          </a:xfrm>
          <a:prstGeom prst="rect">
            <a:avLst/>
          </a:prstGeom>
        </p:spPr>
      </p:pic>
      <p:pic>
        <p:nvPicPr>
          <p:cNvPr id="4" name="Imagem 3">
            <a:hlinkClick r:id="rId8"/>
            <a:extLst>
              <a:ext uri="{FF2B5EF4-FFF2-40B4-BE49-F238E27FC236}">
                <a16:creationId xmlns:a16="http://schemas.microsoft.com/office/drawing/2014/main" id="{D63369D6-3980-A0A4-F282-4CBAA6B94724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 rot="20684596">
            <a:off x="501438" y="3231837"/>
            <a:ext cx="2702063" cy="2702063"/>
          </a:xfrm>
          <a:prstGeom prst="rect">
            <a:avLst/>
          </a:prstGeom>
        </p:spPr>
      </p:pic>
      <p:sp>
        <p:nvSpPr>
          <p:cNvPr id="5" name="CaixaDeTexto 4">
            <a:extLst>
              <a:ext uri="{FF2B5EF4-FFF2-40B4-BE49-F238E27FC236}">
                <a16:creationId xmlns:a16="http://schemas.microsoft.com/office/drawing/2014/main" id="{B033342A-C833-318A-54BE-4041B4D82BC3}"/>
              </a:ext>
            </a:extLst>
          </p:cNvPr>
          <p:cNvSpPr txBox="1"/>
          <p:nvPr/>
        </p:nvSpPr>
        <p:spPr>
          <a:xfrm>
            <a:off x="1717738" y="1586314"/>
            <a:ext cx="3797351" cy="1631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ts val="800"/>
              </a:spcBef>
              <a:buClr>
                <a:srgbClr val="562B35"/>
              </a:buClr>
            </a:pPr>
            <a:r>
              <a:rPr lang="pt-BR" sz="2000" b="1" dirty="0">
                <a:solidFill>
                  <a:srgbClr val="FFC000"/>
                </a:solidFill>
                <a:latin typeface="Candara" panose="020E0502030303020204" pitchFamily="34" charset="0"/>
                <a:ea typeface="Quattrocento Sans"/>
                <a:cs typeface="Segoe UI" panose="020B0502040204020203" pitchFamily="34" charset="0"/>
                <a:sym typeface="Quattrocento Sans"/>
              </a:rPr>
              <a:t>Exemplos:</a:t>
            </a:r>
          </a:p>
          <a:p>
            <a:pPr marL="479988" indent="-479988">
              <a:spcBef>
                <a:spcPts val="800"/>
              </a:spcBef>
              <a:buClr>
                <a:srgbClr val="562B35"/>
              </a:buClr>
              <a:buFont typeface="Arial" panose="020B0604020202020204" pitchFamily="34" charset="0"/>
              <a:buChar char="•"/>
            </a:pPr>
            <a:r>
              <a:rPr lang="pt-BR" sz="2000" dirty="0">
                <a:solidFill>
                  <a:srgbClr val="FFC000"/>
                </a:solidFill>
                <a:latin typeface="Candara" panose="020E0502030303020204" pitchFamily="34" charset="0"/>
                <a:ea typeface="Quattrocento Sans"/>
                <a:cs typeface="Segoe UI" panose="020B0502040204020203" pitchFamily="34" charset="0"/>
                <a:sym typeface="Quattrocento Sans"/>
              </a:rPr>
              <a:t>Eletrodomésticos;</a:t>
            </a:r>
          </a:p>
          <a:p>
            <a:pPr marL="959976" indent="-479988">
              <a:spcBef>
                <a:spcPts val="800"/>
              </a:spcBef>
              <a:buClr>
                <a:srgbClr val="562B35"/>
              </a:buClr>
              <a:buFont typeface="Arial" panose="020B0604020202020204" pitchFamily="34" charset="0"/>
              <a:buChar char="•"/>
            </a:pPr>
            <a:r>
              <a:rPr lang="pt-BR" sz="2000" dirty="0">
                <a:solidFill>
                  <a:srgbClr val="FFC000"/>
                </a:solidFill>
                <a:latin typeface="Candara" panose="020E0502030303020204" pitchFamily="34" charset="0"/>
                <a:ea typeface="Quattrocento Sans"/>
                <a:cs typeface="Segoe UI" panose="020B0502040204020203" pitchFamily="34" charset="0"/>
                <a:sym typeface="Quattrocento Sans"/>
              </a:rPr>
              <a:t>Luminárias;</a:t>
            </a:r>
          </a:p>
          <a:p>
            <a:pPr marL="1439964" indent="-479988">
              <a:spcBef>
                <a:spcPts val="800"/>
              </a:spcBef>
              <a:buClr>
                <a:srgbClr val="562B35"/>
              </a:buClr>
              <a:buFont typeface="Arial" panose="020B0604020202020204" pitchFamily="34" charset="0"/>
              <a:buChar char="•"/>
            </a:pPr>
            <a:r>
              <a:rPr lang="pt-BR" sz="2000" dirty="0">
                <a:solidFill>
                  <a:srgbClr val="FFC000"/>
                </a:solidFill>
                <a:latin typeface="Candara" panose="020E0502030303020204" pitchFamily="34" charset="0"/>
                <a:ea typeface="Quattrocento Sans"/>
                <a:cs typeface="Segoe UI" panose="020B0502040204020203" pitchFamily="34" charset="0"/>
                <a:sym typeface="Quattrocento Sans"/>
              </a:rPr>
              <a:t>Dispositivos.</a:t>
            </a:r>
          </a:p>
        </p:txBody>
      </p:sp>
      <p:sp>
        <p:nvSpPr>
          <p:cNvPr id="6" name="CaixaDeTexto 5">
            <a:extLst>
              <a:ext uri="{FF2B5EF4-FFF2-40B4-BE49-F238E27FC236}">
                <a16:creationId xmlns:a16="http://schemas.microsoft.com/office/drawing/2014/main" id="{F5AEBA99-1BB8-77AB-1CBA-8B2289801DDB}"/>
              </a:ext>
            </a:extLst>
          </p:cNvPr>
          <p:cNvSpPr txBox="1"/>
          <p:nvPr/>
        </p:nvSpPr>
        <p:spPr>
          <a:xfrm>
            <a:off x="5305068" y="2666134"/>
            <a:ext cx="6137956" cy="265713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ts val="800"/>
              </a:spcBef>
              <a:buClr>
                <a:srgbClr val="562B35"/>
              </a:buClr>
            </a:pPr>
            <a:r>
              <a:rPr lang="pt-BR" sz="2000" b="1" dirty="0">
                <a:solidFill>
                  <a:schemeClr val="bg2"/>
                </a:solidFill>
                <a:latin typeface="Candara" panose="020E0502030303020204" pitchFamily="34" charset="0"/>
                <a:ea typeface="Quattrocento Sans"/>
                <a:cs typeface="Segoe UI" panose="020B0502040204020203" pitchFamily="34" charset="0"/>
                <a:sym typeface="Quattrocento Sans"/>
              </a:rPr>
              <a:t>Características e possibilidades:</a:t>
            </a:r>
          </a:p>
          <a:p>
            <a:pPr marL="479988" indent="-479988">
              <a:spcBef>
                <a:spcPts val="800"/>
              </a:spcBef>
              <a:spcAft>
                <a:spcPts val="800"/>
              </a:spcAft>
              <a:buClr>
                <a:srgbClr val="FBFBFB"/>
              </a:buClr>
              <a:buFont typeface="Arial" panose="020B0604020202020204" pitchFamily="34" charset="0"/>
              <a:buChar char="•"/>
            </a:pPr>
            <a:r>
              <a:rPr lang="pt-BR" sz="2000" dirty="0">
                <a:solidFill>
                  <a:srgbClr val="FFC000"/>
                </a:solidFill>
                <a:latin typeface="Candara" panose="020E0502030303020204" pitchFamily="34" charset="0"/>
                <a:ea typeface="Quattrocento Sans"/>
                <a:cs typeface="Segoe UI" panose="020B0502040204020203" pitchFamily="34" charset="0"/>
                <a:sym typeface="Quattrocento Sans"/>
              </a:rPr>
              <a:t>Programa tempo de uso para economizar energia;</a:t>
            </a:r>
          </a:p>
          <a:p>
            <a:pPr marL="479988" indent="-479988">
              <a:spcBef>
                <a:spcPts val="800"/>
              </a:spcBef>
              <a:spcAft>
                <a:spcPts val="800"/>
              </a:spcAft>
              <a:buClr>
                <a:srgbClr val="FBFBFB"/>
              </a:buClr>
              <a:buFont typeface="Arial" panose="020B0604020202020204" pitchFamily="34" charset="0"/>
              <a:buChar char="•"/>
            </a:pPr>
            <a:r>
              <a:rPr lang="pt-BR" sz="2000" dirty="0">
                <a:solidFill>
                  <a:srgbClr val="FFC000"/>
                </a:solidFill>
                <a:latin typeface="Candara" panose="020E0502030303020204" pitchFamily="34" charset="0"/>
                <a:ea typeface="Quattrocento Sans"/>
                <a:cs typeface="Segoe UI" panose="020B0502040204020203" pitchFamily="34" charset="0"/>
                <a:sym typeface="Quattrocento Sans"/>
              </a:rPr>
              <a:t>Ligar e desligar aparelhos </a:t>
            </a:r>
            <a:br>
              <a:rPr lang="pt-BR" sz="2000" dirty="0">
                <a:solidFill>
                  <a:srgbClr val="FFC000"/>
                </a:solidFill>
                <a:latin typeface="Candara" panose="020E0502030303020204" pitchFamily="34" charset="0"/>
                <a:ea typeface="Quattrocento Sans"/>
                <a:cs typeface="Segoe UI" panose="020B0502040204020203" pitchFamily="34" charset="0"/>
                <a:sym typeface="Quattrocento Sans"/>
              </a:rPr>
            </a:br>
            <a:r>
              <a:rPr lang="pt-BR" sz="2000" dirty="0">
                <a:solidFill>
                  <a:srgbClr val="FFC000"/>
                </a:solidFill>
                <a:latin typeface="Candara" panose="020E0502030303020204" pitchFamily="34" charset="0"/>
                <a:ea typeface="Quattrocento Sans"/>
                <a:cs typeface="Segoe UI" panose="020B0502040204020203" pitchFamily="34" charset="0"/>
                <a:sym typeface="Quattrocento Sans"/>
              </a:rPr>
              <a:t>por comando de voz;</a:t>
            </a:r>
          </a:p>
          <a:p>
            <a:pPr marL="479988" indent="-479988">
              <a:spcBef>
                <a:spcPts val="800"/>
              </a:spcBef>
              <a:spcAft>
                <a:spcPts val="800"/>
              </a:spcAft>
              <a:buClr>
                <a:srgbClr val="FBFBFB"/>
              </a:buClr>
              <a:buFont typeface="Arial" panose="020B0604020202020204" pitchFamily="34" charset="0"/>
              <a:buChar char="•"/>
            </a:pPr>
            <a:r>
              <a:rPr lang="pt-BR" sz="2000" dirty="0">
                <a:solidFill>
                  <a:srgbClr val="FFC000"/>
                </a:solidFill>
                <a:latin typeface="Candara" panose="020E0502030303020204" pitchFamily="34" charset="0"/>
                <a:ea typeface="Quattrocento Sans"/>
                <a:cs typeface="Segoe UI" panose="020B0502040204020203" pitchFamily="34" charset="0"/>
                <a:sym typeface="Quattrocento Sans"/>
              </a:rPr>
              <a:t>Bivolt: 110V e 220V;</a:t>
            </a:r>
          </a:p>
          <a:p>
            <a:pPr marL="479988" indent="-479988">
              <a:spcBef>
                <a:spcPts val="800"/>
              </a:spcBef>
              <a:spcAft>
                <a:spcPts val="800"/>
              </a:spcAft>
              <a:buClr>
                <a:srgbClr val="FBFBFB"/>
              </a:buClr>
              <a:buFont typeface="Arial" panose="020B0604020202020204" pitchFamily="34" charset="0"/>
              <a:buChar char="•"/>
            </a:pPr>
            <a:r>
              <a:rPr lang="pt-BR" sz="2000" dirty="0">
                <a:solidFill>
                  <a:srgbClr val="FFC000"/>
                </a:solidFill>
                <a:latin typeface="Candara" panose="020E0502030303020204" pitchFamily="34" charset="0"/>
                <a:ea typeface="Quattrocento Sans"/>
                <a:cs typeface="Segoe UI" panose="020B0502040204020203" pitchFamily="34" charset="0"/>
                <a:sym typeface="Quattrocento Sans"/>
              </a:rPr>
              <a:t>Acompanhe o consumo de energia pelo aplicativo</a:t>
            </a:r>
            <a:r>
              <a:rPr lang="pt-BR" sz="1867" dirty="0">
                <a:solidFill>
                  <a:srgbClr val="FFC000"/>
                </a:solidFill>
                <a:latin typeface="Candara" panose="020E0502030303020204" pitchFamily="34" charset="0"/>
                <a:ea typeface="Quattrocento Sans"/>
                <a:cs typeface="Segoe UI" panose="020B0502040204020203" pitchFamily="34" charset="0"/>
                <a:sym typeface="Quattrocento Sans"/>
              </a:rPr>
              <a:t>.</a:t>
            </a:r>
          </a:p>
        </p:txBody>
      </p:sp>
      <p:sp>
        <p:nvSpPr>
          <p:cNvPr id="7" name="CaixaDeTexto 6">
            <a:extLst>
              <a:ext uri="{FF2B5EF4-FFF2-40B4-BE49-F238E27FC236}">
                <a16:creationId xmlns:a16="http://schemas.microsoft.com/office/drawing/2014/main" id="{1C41EF9C-C87A-E6C1-A9BF-6A49FFD40D7D}"/>
              </a:ext>
            </a:extLst>
          </p:cNvPr>
          <p:cNvSpPr txBox="1"/>
          <p:nvPr/>
        </p:nvSpPr>
        <p:spPr>
          <a:xfrm>
            <a:off x="1717739" y="6072524"/>
            <a:ext cx="818136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Bef>
                <a:spcPts val="1600"/>
              </a:spcBef>
              <a:buClr>
                <a:srgbClr val="562B35"/>
              </a:buClr>
            </a:pPr>
            <a:r>
              <a:rPr lang="pt-BR" sz="1600" dirty="0">
                <a:solidFill>
                  <a:srgbClr val="FFC000"/>
                </a:solidFill>
                <a:latin typeface="Candara" panose="020E0502030303020204" pitchFamily="34" charset="0"/>
                <a:ea typeface="Quattrocento Sans"/>
                <a:cs typeface="Segoe UI" panose="020B0502040204020203" pitchFamily="34" charset="0"/>
                <a:sym typeface="Quattrocento Sans"/>
              </a:rPr>
              <a:t>Compatível com os programas Google </a:t>
            </a:r>
            <a:r>
              <a:rPr lang="pt-BR" sz="1600" dirty="0" err="1">
                <a:solidFill>
                  <a:srgbClr val="FFC000"/>
                </a:solidFill>
                <a:latin typeface="Candara" panose="020E0502030303020204" pitchFamily="34" charset="0"/>
                <a:ea typeface="Quattrocento Sans"/>
                <a:cs typeface="Segoe UI" panose="020B0502040204020203" pitchFamily="34" charset="0"/>
                <a:sym typeface="Quattrocento Sans"/>
              </a:rPr>
              <a:t>Assistant</a:t>
            </a:r>
            <a:r>
              <a:rPr lang="pt-BR" sz="1600" dirty="0">
                <a:solidFill>
                  <a:srgbClr val="FFC000"/>
                </a:solidFill>
                <a:latin typeface="Candara" panose="020E0502030303020204" pitchFamily="34" charset="0"/>
                <a:ea typeface="Quattrocento Sans"/>
                <a:cs typeface="Segoe UI" panose="020B0502040204020203" pitchFamily="34" charset="0"/>
                <a:sym typeface="Quattrocento Sans"/>
              </a:rPr>
              <a:t>, Siri e </a:t>
            </a:r>
            <a:r>
              <a:rPr lang="pt-BR" sz="1600" dirty="0" err="1">
                <a:solidFill>
                  <a:srgbClr val="FFC000"/>
                </a:solidFill>
                <a:latin typeface="Candara" panose="020E0502030303020204" pitchFamily="34" charset="0"/>
                <a:ea typeface="Quattrocento Sans"/>
                <a:cs typeface="Segoe UI" panose="020B0502040204020203" pitchFamily="34" charset="0"/>
                <a:sym typeface="Quattrocento Sans"/>
              </a:rPr>
              <a:t>Amazon</a:t>
            </a:r>
            <a:r>
              <a:rPr lang="pt-BR" sz="1600" dirty="0">
                <a:solidFill>
                  <a:srgbClr val="FFC000"/>
                </a:solidFill>
                <a:latin typeface="Candara" panose="020E0502030303020204" pitchFamily="34" charset="0"/>
                <a:ea typeface="Quattrocento Sans"/>
                <a:cs typeface="Segoe UI" panose="020B0502040204020203" pitchFamily="34" charset="0"/>
                <a:sym typeface="Quattrocento Sans"/>
              </a:rPr>
              <a:t> </a:t>
            </a:r>
            <a:r>
              <a:rPr lang="pt-BR" sz="1600" dirty="0" err="1">
                <a:solidFill>
                  <a:srgbClr val="FFC000"/>
                </a:solidFill>
                <a:latin typeface="Candara" panose="020E0502030303020204" pitchFamily="34" charset="0"/>
                <a:ea typeface="Quattrocento Sans"/>
                <a:cs typeface="Segoe UI" panose="020B0502040204020203" pitchFamily="34" charset="0"/>
                <a:sym typeface="Quattrocento Sans"/>
              </a:rPr>
              <a:t>Alexa</a:t>
            </a:r>
            <a:r>
              <a:rPr lang="pt-BR" sz="1600" dirty="0">
                <a:solidFill>
                  <a:srgbClr val="FFC000"/>
                </a:solidFill>
                <a:latin typeface="Candara" panose="020E0502030303020204" pitchFamily="34" charset="0"/>
                <a:ea typeface="Quattrocento Sans"/>
                <a:cs typeface="Segoe UI" panose="020B0502040204020203" pitchFamily="34" charset="0"/>
                <a:sym typeface="Quattrocento Sans"/>
              </a:rPr>
              <a:t>.</a:t>
            </a:r>
          </a:p>
        </p:txBody>
      </p:sp>
      <p:sp>
        <p:nvSpPr>
          <p:cNvPr id="8" name="CaixaDeTexto 7">
            <a:extLst>
              <a:ext uri="{FF2B5EF4-FFF2-40B4-BE49-F238E27FC236}">
                <a16:creationId xmlns:a16="http://schemas.microsoft.com/office/drawing/2014/main" id="{FF62B2E1-1437-4C1E-1893-C6E022D63CF9}"/>
              </a:ext>
            </a:extLst>
          </p:cNvPr>
          <p:cNvSpPr txBox="1"/>
          <p:nvPr/>
        </p:nvSpPr>
        <p:spPr>
          <a:xfrm>
            <a:off x="2355399" y="388821"/>
            <a:ext cx="736482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>
              <a:spcBef>
                <a:spcPts val="1200"/>
              </a:spcBef>
            </a:pPr>
            <a:r>
              <a:rPr lang="da-DK" sz="3600" b="1" i="1" dirty="0">
                <a:solidFill>
                  <a:schemeClr val="bg1">
                    <a:lumMod val="95000"/>
                  </a:schemeClr>
                </a:solidFill>
                <a:latin typeface="Candara" panose="020E0502030303020204" pitchFamily="34" charset="0"/>
                <a:ea typeface="Quattrocento Sans"/>
                <a:cs typeface="Times New Roman" panose="02020603050405020304" pitchFamily="18" charset="0"/>
                <a:sym typeface="Quattrocento Sans"/>
              </a:rPr>
              <a:t>Adptador de Tomada 10A </a:t>
            </a:r>
            <a:r>
              <a:rPr lang="da-DK" sz="2000" b="1" i="1" dirty="0">
                <a:solidFill>
                  <a:schemeClr val="bg1">
                    <a:lumMod val="95000"/>
                  </a:schemeClr>
                </a:solidFill>
                <a:latin typeface="Candara" panose="020E0502030303020204" pitchFamily="34" charset="0"/>
                <a:ea typeface="Quattrocento Sans"/>
                <a:cs typeface="Times New Roman" panose="02020603050405020304" pitchFamily="18" charset="0"/>
                <a:sym typeface="Quattrocento Sans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0925148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  <p:bldP spid="6" grpId="0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87708B03-AE03-E05D-1628-545D897DCF2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m 2" descr="Interface gráfica do usuário&#10;&#10;O conteúdo gerado por IA pode estar incorreto.">
            <a:extLst>
              <a:ext uri="{FF2B5EF4-FFF2-40B4-BE49-F238E27FC236}">
                <a16:creationId xmlns:a16="http://schemas.microsoft.com/office/drawing/2014/main" id="{CD5E6126-58B6-6271-E779-D01DE81D209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6447" y="248306"/>
            <a:ext cx="1371600" cy="561358"/>
          </a:xfrm>
          <a:prstGeom prst="rect">
            <a:avLst/>
          </a:prstGeom>
        </p:spPr>
      </p:pic>
      <p:pic>
        <p:nvPicPr>
          <p:cNvPr id="1026" name="Picture 2" descr="logo claro PNG &amp; clipart images | Citypng">
            <a:extLst>
              <a:ext uri="{FF2B5EF4-FFF2-40B4-BE49-F238E27FC236}">
                <a16:creationId xmlns:a16="http://schemas.microsoft.com/office/drawing/2014/main" id="{A82639FE-9184-C69A-D32F-4E9EF92AD63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ackgroundRemoval t="8875" b="90500" l="9625" r="90375">
                        <a14:foregroundMark x1="35125" y1="42750" x2="35125" y2="42750"/>
                        <a14:foregroundMark x1="35250" y1="45125" x2="33750" y2="54125"/>
                        <a14:foregroundMark x1="33750" y1="54125" x2="41375" y2="48750"/>
                        <a14:foregroundMark x1="41375" y1="48750" x2="36875" y2="40375"/>
                        <a14:foregroundMark x1="36875" y1="40375" x2="31375" y2="43625"/>
                        <a14:foregroundMark x1="22000" y1="41875" x2="12375" y2="50500"/>
                        <a14:foregroundMark x1="12375" y1="50500" x2="25625" y2="62375"/>
                        <a14:foregroundMark x1="25625" y1="62375" x2="52750" y2="64125"/>
                        <a14:foregroundMark x1="52750" y1="64125" x2="73500" y2="62500"/>
                        <a14:foregroundMark x1="73500" y1="62500" x2="87375" y2="56375"/>
                        <a14:foregroundMark x1="87375" y1="56375" x2="87125" y2="45625"/>
                        <a14:foregroundMark x1="87125" y1="45625" x2="84625" y2="37625"/>
                        <a14:foregroundMark x1="84625" y1="37625" x2="76500" y2="32125"/>
                        <a14:foregroundMark x1="76500" y1="32125" x2="57500" y2="27250"/>
                        <a14:foregroundMark x1="57500" y1="27250" x2="20250" y2="28750"/>
                        <a14:foregroundMark x1="20250" y1="28750" x2="15750" y2="38375"/>
                        <a14:foregroundMark x1="15750" y1="38375" x2="12250" y2="41125"/>
                        <a14:foregroundMark x1="28375" y1="36125" x2="17625" y2="48125"/>
                        <a14:foregroundMark x1="17625" y1="48125" x2="23875" y2="57625"/>
                        <a14:foregroundMark x1="23875" y1="57625" x2="34500" y2="44000"/>
                        <a14:foregroundMark x1="34500" y1="44000" x2="21250" y2="39375"/>
                        <a14:foregroundMark x1="21250" y1="39375" x2="19250" y2="41250"/>
                        <a14:foregroundMark x1="26250" y1="40250" x2="27375" y2="52750"/>
                        <a14:foregroundMark x1="27375" y1="52750" x2="28875" y2="40125"/>
                        <a14:foregroundMark x1="28875" y1="40125" x2="18750" y2="45500"/>
                        <a14:foregroundMark x1="18750" y1="45500" x2="20750" y2="48625"/>
                        <a14:foregroundMark x1="26875" y1="40625" x2="27375" y2="58250"/>
                        <a14:foregroundMark x1="27375" y1="58250" x2="30625" y2="48375"/>
                        <a14:foregroundMark x1="30625" y1="48375" x2="20375" y2="51125"/>
                        <a14:foregroundMark x1="20375" y1="51125" x2="20375" y2="52375"/>
                        <a14:foregroundMark x1="19125" y1="42500" x2="25500" y2="55125"/>
                        <a14:foregroundMark x1="25500" y1="55125" x2="25125" y2="59500"/>
                        <a14:foregroundMark x1="22250" y1="56750" x2="21750" y2="58125"/>
                        <a14:foregroundMark x1="38500" y1="39875" x2="29750" y2="53250"/>
                        <a14:foregroundMark x1="29750" y1="53250" x2="34875" y2="62125"/>
                        <a14:foregroundMark x1="34875" y1="62125" x2="39750" y2="49375"/>
                        <a14:foregroundMark x1="39750" y1="49375" x2="36125" y2="43000"/>
                        <a14:foregroundMark x1="43375" y1="42375" x2="41000" y2="60750"/>
                        <a14:foregroundMark x1="41000" y1="60750" x2="51625" y2="47750"/>
                        <a14:foregroundMark x1="51625" y1="47750" x2="43375" y2="46875"/>
                        <a14:foregroundMark x1="43375" y1="46875" x2="41375" y2="48000"/>
                        <a14:foregroundMark x1="47125" y1="50750" x2="48375" y2="59000"/>
                        <a14:foregroundMark x1="48375" y1="59000" x2="45125" y2="53500"/>
                        <a14:foregroundMark x1="53625" y1="43250" x2="52125" y2="50125"/>
                        <a14:foregroundMark x1="52125" y1="50125" x2="54125" y2="58375"/>
                        <a14:foregroundMark x1="54125" y1="58375" x2="58125" y2="50500"/>
                        <a14:foregroundMark x1="58125" y1="50500" x2="53250" y2="45125"/>
                        <a14:foregroundMark x1="53250" y1="45125" x2="51500" y2="45375"/>
                        <a14:foregroundMark x1="58625" y1="42000" x2="59750" y2="52125"/>
                        <a14:foregroundMark x1="59750" y1="52125" x2="57750" y2="45000"/>
                        <a14:foregroundMark x1="63000" y1="45375" x2="61000" y2="62375"/>
                        <a14:foregroundMark x1="61000" y1="62375" x2="73375" y2="56375"/>
                        <a14:foregroundMark x1="73375" y1="56375" x2="72000" y2="45625"/>
                        <a14:foregroundMark x1="72000" y1="45625" x2="64375" y2="43500"/>
                        <a14:foregroundMark x1="64375" y1="43500" x2="61750" y2="33375"/>
                        <a14:foregroundMark x1="61750" y1="33375" x2="72625" y2="31250"/>
                        <a14:foregroundMark x1="72625" y1="31250" x2="67750" y2="44000"/>
                        <a14:foregroundMark x1="67750" y1="44000" x2="73125" y2="38125"/>
                        <a14:foregroundMark x1="73125" y1="38125" x2="81750" y2="37125"/>
                        <a14:foregroundMark x1="81750" y1="37125" x2="77625" y2="50250"/>
                        <a14:foregroundMark x1="77625" y1="50250" x2="81750" y2="52375"/>
                        <a14:foregroundMark x1="68875" y1="31750" x2="67125" y2="43250"/>
                        <a14:foregroundMark x1="67125" y1="43250" x2="69125" y2="34625"/>
                        <a14:foregroundMark x1="78750" y1="32500" x2="75250" y2="44500"/>
                        <a14:foregroundMark x1="75250" y1="44500" x2="79875" y2="36750"/>
                        <a14:foregroundMark x1="79875" y1="36750" x2="76875" y2="36375"/>
                        <a14:foregroundMark x1="78750" y1="46625" x2="80125" y2="55500"/>
                        <a14:foregroundMark x1="80125" y1="55500" x2="80750" y2="46125"/>
                        <a14:foregroundMark x1="80750" y1="46125" x2="77750" y2="45875"/>
                        <a14:foregroundMark x1="90375" y1="44000" x2="88750" y2="56375"/>
                        <a14:foregroundMark x1="45750" y1="10250" x2="57875" y2="11500"/>
                        <a14:foregroundMark x1="54125" y1="8875" x2="53500" y2="9125"/>
                        <a14:foregroundMark x1="49500" y1="90500" x2="54125" y2="89500"/>
                        <a14:foregroundMark x1="9625" y1="49625" x2="11000" y2="47125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3256" t="7288" r="7881" b="3666"/>
          <a:stretch>
            <a:fillRect/>
          </a:stretch>
        </p:blipFill>
        <p:spPr bwMode="auto">
          <a:xfrm>
            <a:off x="11238614" y="5890437"/>
            <a:ext cx="733648" cy="7351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CaixaDeTexto 1">
            <a:extLst>
              <a:ext uri="{FF2B5EF4-FFF2-40B4-BE49-F238E27FC236}">
                <a16:creationId xmlns:a16="http://schemas.microsoft.com/office/drawing/2014/main" id="{7DDC237E-7071-8C6F-88EB-E94DA0BDACFB}"/>
              </a:ext>
            </a:extLst>
          </p:cNvPr>
          <p:cNvSpPr txBox="1"/>
          <p:nvPr/>
        </p:nvSpPr>
        <p:spPr>
          <a:xfrm>
            <a:off x="2111664" y="640386"/>
            <a:ext cx="736482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sv-SE" sz="2400" b="1" dirty="0">
                <a:solidFill>
                  <a:schemeClr val="bg2"/>
                </a:solidFill>
                <a:latin typeface="Candara" panose="020E0502030303020204" pitchFamily="34" charset="0"/>
              </a:rPr>
              <a:t>Câmera Inteligente, Wi-Fi, Full HD 1080p</a:t>
            </a:r>
          </a:p>
        </p:txBody>
      </p:sp>
      <p:pic>
        <p:nvPicPr>
          <p:cNvPr id="20" name="Imagem 19">
            <a:hlinkClick r:id="rId6"/>
            <a:extLst>
              <a:ext uri="{FF2B5EF4-FFF2-40B4-BE49-F238E27FC236}">
                <a16:creationId xmlns:a16="http://schemas.microsoft.com/office/drawing/2014/main" id="{128A1C34-EDDE-2C15-23D9-9BB49D7349AC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 rot="328715">
            <a:off x="11101564" y="166786"/>
            <a:ext cx="594251" cy="947200"/>
          </a:xfrm>
          <a:prstGeom prst="rect">
            <a:avLst/>
          </a:prstGeom>
        </p:spPr>
      </p:pic>
      <p:pic>
        <p:nvPicPr>
          <p:cNvPr id="4" name="Imagem 3">
            <a:hlinkClick r:id="rId8"/>
            <a:extLst>
              <a:ext uri="{FF2B5EF4-FFF2-40B4-BE49-F238E27FC236}">
                <a16:creationId xmlns:a16="http://schemas.microsoft.com/office/drawing/2014/main" id="{4A003732-44A1-6BD0-8DF7-F8C58EAA650E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backgroundRemoval t="7578" b="89896" l="9937" r="89748">
                        <a14:foregroundMark x1="53470" y1="80238" x2="41640" y2="75780"/>
                        <a14:foregroundMark x1="41640" y1="75780" x2="30599" y2="58395"/>
                        <a14:foregroundMark x1="30599" y1="58395" x2="28707" y2="35513"/>
                        <a14:foregroundMark x1="72082" y1="87816" x2="43375" y2="86181"/>
                        <a14:foregroundMark x1="43375" y1="86181" x2="40852" y2="85587"/>
                        <a14:foregroundMark x1="42271" y1="78603" x2="24448" y2="65973"/>
                        <a14:foregroundMark x1="31703" y1="41456" x2="33438" y2="20357"/>
                        <a14:foregroundMark x1="35962" y1="18276" x2="60095" y2="8172"/>
                        <a14:foregroundMark x1="60410" y1="9510" x2="41640" y2="12036"/>
                        <a14:foregroundMark x1="41640" y1="12036" x2="32019" y2="20357"/>
                        <a14:foregroundMark x1="35174" y1="14413" x2="49685" y2="7727"/>
                        <a14:foregroundMark x1="49685" y1="7727" x2="56940" y2="7578"/>
                      </a14:backgroundRemoval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3841665" y="2439648"/>
            <a:ext cx="3595455" cy="38166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1762028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9AE62F0C-0525-6711-B405-3E3FDBCAE9E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m 2" descr="Interface gráfica do usuário&#10;&#10;O conteúdo gerado por IA pode estar incorreto.">
            <a:extLst>
              <a:ext uri="{FF2B5EF4-FFF2-40B4-BE49-F238E27FC236}">
                <a16:creationId xmlns:a16="http://schemas.microsoft.com/office/drawing/2014/main" id="{D386EFB6-24AF-7EB6-5343-FC08F5AF979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6447" y="248306"/>
            <a:ext cx="1371600" cy="561358"/>
          </a:xfrm>
          <a:prstGeom prst="rect">
            <a:avLst/>
          </a:prstGeom>
        </p:spPr>
      </p:pic>
      <p:pic>
        <p:nvPicPr>
          <p:cNvPr id="1026" name="Picture 2" descr="logo claro PNG &amp; clipart images | Citypng">
            <a:extLst>
              <a:ext uri="{FF2B5EF4-FFF2-40B4-BE49-F238E27FC236}">
                <a16:creationId xmlns:a16="http://schemas.microsoft.com/office/drawing/2014/main" id="{130288A3-CA34-6E76-15F5-4FF028A8E9E4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ackgroundRemoval t="8875" b="90500" l="9625" r="90375">
                        <a14:foregroundMark x1="35125" y1="42750" x2="35125" y2="42750"/>
                        <a14:foregroundMark x1="35250" y1="45125" x2="33750" y2="54125"/>
                        <a14:foregroundMark x1="33750" y1="54125" x2="41375" y2="48750"/>
                        <a14:foregroundMark x1="41375" y1="48750" x2="36875" y2="40375"/>
                        <a14:foregroundMark x1="36875" y1="40375" x2="31375" y2="43625"/>
                        <a14:foregroundMark x1="22000" y1="41875" x2="12375" y2="50500"/>
                        <a14:foregroundMark x1="12375" y1="50500" x2="25625" y2="62375"/>
                        <a14:foregroundMark x1="25625" y1="62375" x2="52750" y2="64125"/>
                        <a14:foregroundMark x1="52750" y1="64125" x2="73500" y2="62500"/>
                        <a14:foregroundMark x1="73500" y1="62500" x2="87375" y2="56375"/>
                        <a14:foregroundMark x1="87375" y1="56375" x2="87125" y2="45625"/>
                        <a14:foregroundMark x1="87125" y1="45625" x2="84625" y2="37625"/>
                        <a14:foregroundMark x1="84625" y1="37625" x2="76500" y2="32125"/>
                        <a14:foregroundMark x1="76500" y1="32125" x2="57500" y2="27250"/>
                        <a14:foregroundMark x1="57500" y1="27250" x2="20250" y2="28750"/>
                        <a14:foregroundMark x1="20250" y1="28750" x2="15750" y2="38375"/>
                        <a14:foregroundMark x1="15750" y1="38375" x2="12250" y2="41125"/>
                        <a14:foregroundMark x1="28375" y1="36125" x2="17625" y2="48125"/>
                        <a14:foregroundMark x1="17625" y1="48125" x2="23875" y2="57625"/>
                        <a14:foregroundMark x1="23875" y1="57625" x2="34500" y2="44000"/>
                        <a14:foregroundMark x1="34500" y1="44000" x2="21250" y2="39375"/>
                        <a14:foregroundMark x1="21250" y1="39375" x2="19250" y2="41250"/>
                        <a14:foregroundMark x1="26250" y1="40250" x2="27375" y2="52750"/>
                        <a14:foregroundMark x1="27375" y1="52750" x2="28875" y2="40125"/>
                        <a14:foregroundMark x1="28875" y1="40125" x2="18750" y2="45500"/>
                        <a14:foregroundMark x1="18750" y1="45500" x2="20750" y2="48625"/>
                        <a14:foregroundMark x1="26875" y1="40625" x2="27375" y2="58250"/>
                        <a14:foregroundMark x1="27375" y1="58250" x2="30625" y2="48375"/>
                        <a14:foregroundMark x1="30625" y1="48375" x2="20375" y2="51125"/>
                        <a14:foregroundMark x1="20375" y1="51125" x2="20375" y2="52375"/>
                        <a14:foregroundMark x1="19125" y1="42500" x2="25500" y2="55125"/>
                        <a14:foregroundMark x1="25500" y1="55125" x2="25125" y2="59500"/>
                        <a14:foregroundMark x1="22250" y1="56750" x2="21750" y2="58125"/>
                        <a14:foregroundMark x1="38500" y1="39875" x2="29750" y2="53250"/>
                        <a14:foregroundMark x1="29750" y1="53250" x2="34875" y2="62125"/>
                        <a14:foregroundMark x1="34875" y1="62125" x2="39750" y2="49375"/>
                        <a14:foregroundMark x1="39750" y1="49375" x2="36125" y2="43000"/>
                        <a14:foregroundMark x1="43375" y1="42375" x2="41000" y2="60750"/>
                        <a14:foregroundMark x1="41000" y1="60750" x2="51625" y2="47750"/>
                        <a14:foregroundMark x1="51625" y1="47750" x2="43375" y2="46875"/>
                        <a14:foregroundMark x1="43375" y1="46875" x2="41375" y2="48000"/>
                        <a14:foregroundMark x1="47125" y1="50750" x2="48375" y2="59000"/>
                        <a14:foregroundMark x1="48375" y1="59000" x2="45125" y2="53500"/>
                        <a14:foregroundMark x1="53625" y1="43250" x2="52125" y2="50125"/>
                        <a14:foregroundMark x1="52125" y1="50125" x2="54125" y2="58375"/>
                        <a14:foregroundMark x1="54125" y1="58375" x2="58125" y2="50500"/>
                        <a14:foregroundMark x1="58125" y1="50500" x2="53250" y2="45125"/>
                        <a14:foregroundMark x1="53250" y1="45125" x2="51500" y2="45375"/>
                        <a14:foregroundMark x1="58625" y1="42000" x2="59750" y2="52125"/>
                        <a14:foregroundMark x1="59750" y1="52125" x2="57750" y2="45000"/>
                        <a14:foregroundMark x1="63000" y1="45375" x2="61000" y2="62375"/>
                        <a14:foregroundMark x1="61000" y1="62375" x2="73375" y2="56375"/>
                        <a14:foregroundMark x1="73375" y1="56375" x2="72000" y2="45625"/>
                        <a14:foregroundMark x1="72000" y1="45625" x2="64375" y2="43500"/>
                        <a14:foregroundMark x1="64375" y1="43500" x2="61750" y2="33375"/>
                        <a14:foregroundMark x1="61750" y1="33375" x2="72625" y2="31250"/>
                        <a14:foregroundMark x1="72625" y1="31250" x2="67750" y2="44000"/>
                        <a14:foregroundMark x1="67750" y1="44000" x2="73125" y2="38125"/>
                        <a14:foregroundMark x1="73125" y1="38125" x2="81750" y2="37125"/>
                        <a14:foregroundMark x1="81750" y1="37125" x2="77625" y2="50250"/>
                        <a14:foregroundMark x1="77625" y1="50250" x2="81750" y2="52375"/>
                        <a14:foregroundMark x1="68875" y1="31750" x2="67125" y2="43250"/>
                        <a14:foregroundMark x1="67125" y1="43250" x2="69125" y2="34625"/>
                        <a14:foregroundMark x1="78750" y1="32500" x2="75250" y2="44500"/>
                        <a14:foregroundMark x1="75250" y1="44500" x2="79875" y2="36750"/>
                        <a14:foregroundMark x1="79875" y1="36750" x2="76875" y2="36375"/>
                        <a14:foregroundMark x1="78750" y1="46625" x2="80125" y2="55500"/>
                        <a14:foregroundMark x1="80125" y1="55500" x2="80750" y2="46125"/>
                        <a14:foregroundMark x1="80750" y1="46125" x2="77750" y2="45875"/>
                        <a14:foregroundMark x1="90375" y1="44000" x2="88750" y2="56375"/>
                        <a14:foregroundMark x1="45750" y1="10250" x2="57875" y2="11500"/>
                        <a14:foregroundMark x1="54125" y1="8875" x2="53500" y2="9125"/>
                        <a14:foregroundMark x1="49500" y1="90500" x2="54125" y2="89500"/>
                        <a14:foregroundMark x1="9625" y1="49625" x2="11000" y2="47125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3256" t="7288" r="7881" b="3666"/>
          <a:stretch>
            <a:fillRect/>
          </a:stretch>
        </p:blipFill>
        <p:spPr bwMode="auto">
          <a:xfrm>
            <a:off x="11238614" y="5890437"/>
            <a:ext cx="733648" cy="7351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CaixaDeTexto 1">
            <a:extLst>
              <a:ext uri="{FF2B5EF4-FFF2-40B4-BE49-F238E27FC236}">
                <a16:creationId xmlns:a16="http://schemas.microsoft.com/office/drawing/2014/main" id="{FBB86D54-8DB7-591E-25D7-7814E229F2FC}"/>
              </a:ext>
            </a:extLst>
          </p:cNvPr>
          <p:cNvSpPr txBox="1"/>
          <p:nvPr/>
        </p:nvSpPr>
        <p:spPr>
          <a:xfrm>
            <a:off x="2413588" y="3028890"/>
            <a:ext cx="736482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>
              <a:spcBef>
                <a:spcPts val="1200"/>
              </a:spcBef>
            </a:pPr>
            <a:r>
              <a:rPr lang="da-DK" sz="3600" b="1" i="1" dirty="0">
                <a:solidFill>
                  <a:schemeClr val="bg1">
                    <a:lumMod val="95000"/>
                  </a:schemeClr>
                </a:solidFill>
                <a:latin typeface="Candara" panose="020E0502030303020204" pitchFamily="34" charset="0"/>
                <a:ea typeface="Quattrocento Sans"/>
                <a:cs typeface="Times New Roman" panose="02020603050405020304" pitchFamily="18" charset="0"/>
                <a:sym typeface="Quattrocento Sans"/>
              </a:rPr>
              <a:t>Pets</a:t>
            </a:r>
            <a:endParaRPr lang="da-DK" sz="2000" b="1" i="1" dirty="0">
              <a:solidFill>
                <a:schemeClr val="bg1">
                  <a:lumMod val="95000"/>
                </a:schemeClr>
              </a:solidFill>
              <a:latin typeface="Candara" panose="020E0502030303020204" pitchFamily="34" charset="0"/>
              <a:ea typeface="Quattrocento Sans"/>
              <a:cs typeface="Times New Roman" panose="02020603050405020304" pitchFamily="18" charset="0"/>
              <a:sym typeface="Quattrocento Sans"/>
            </a:endParaRPr>
          </a:p>
        </p:txBody>
      </p:sp>
      <p:pic>
        <p:nvPicPr>
          <p:cNvPr id="20" name="Imagem 19">
            <a:hlinkClick r:id="rId6"/>
            <a:extLst>
              <a:ext uri="{FF2B5EF4-FFF2-40B4-BE49-F238E27FC236}">
                <a16:creationId xmlns:a16="http://schemas.microsoft.com/office/drawing/2014/main" id="{43353616-23B2-220D-7D73-E9CB046CAB1D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 rot="328715">
            <a:off x="11101564" y="166786"/>
            <a:ext cx="594251" cy="947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5531490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046D6699-0BA1-4A22-E739-2BB5EEE6970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m 2" descr="Interface gráfica do usuário&#10;&#10;O conteúdo gerado por IA pode estar incorreto.">
            <a:extLst>
              <a:ext uri="{FF2B5EF4-FFF2-40B4-BE49-F238E27FC236}">
                <a16:creationId xmlns:a16="http://schemas.microsoft.com/office/drawing/2014/main" id="{E18D9CA0-18A8-FEB6-EF49-62B0EB7D646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6447" y="248306"/>
            <a:ext cx="1371600" cy="561358"/>
          </a:xfrm>
          <a:prstGeom prst="rect">
            <a:avLst/>
          </a:prstGeom>
        </p:spPr>
      </p:pic>
      <p:pic>
        <p:nvPicPr>
          <p:cNvPr id="1026" name="Picture 2" descr="logo claro PNG &amp; clipart images | Citypng">
            <a:extLst>
              <a:ext uri="{FF2B5EF4-FFF2-40B4-BE49-F238E27FC236}">
                <a16:creationId xmlns:a16="http://schemas.microsoft.com/office/drawing/2014/main" id="{AF2F90F9-93B4-D0FE-741A-57B7E3556EAC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ackgroundRemoval t="8875" b="90500" l="9625" r="90375">
                        <a14:foregroundMark x1="35125" y1="42750" x2="35125" y2="42750"/>
                        <a14:foregroundMark x1="35250" y1="45125" x2="33750" y2="54125"/>
                        <a14:foregroundMark x1="33750" y1="54125" x2="41375" y2="48750"/>
                        <a14:foregroundMark x1="41375" y1="48750" x2="36875" y2="40375"/>
                        <a14:foregroundMark x1="36875" y1="40375" x2="31375" y2="43625"/>
                        <a14:foregroundMark x1="22000" y1="41875" x2="12375" y2="50500"/>
                        <a14:foregroundMark x1="12375" y1="50500" x2="25625" y2="62375"/>
                        <a14:foregroundMark x1="25625" y1="62375" x2="52750" y2="64125"/>
                        <a14:foregroundMark x1="52750" y1="64125" x2="73500" y2="62500"/>
                        <a14:foregroundMark x1="73500" y1="62500" x2="87375" y2="56375"/>
                        <a14:foregroundMark x1="87375" y1="56375" x2="87125" y2="45625"/>
                        <a14:foregroundMark x1="87125" y1="45625" x2="84625" y2="37625"/>
                        <a14:foregroundMark x1="84625" y1="37625" x2="76500" y2="32125"/>
                        <a14:foregroundMark x1="76500" y1="32125" x2="57500" y2="27250"/>
                        <a14:foregroundMark x1="57500" y1="27250" x2="20250" y2="28750"/>
                        <a14:foregroundMark x1="20250" y1="28750" x2="15750" y2="38375"/>
                        <a14:foregroundMark x1="15750" y1="38375" x2="12250" y2="41125"/>
                        <a14:foregroundMark x1="28375" y1="36125" x2="17625" y2="48125"/>
                        <a14:foregroundMark x1="17625" y1="48125" x2="23875" y2="57625"/>
                        <a14:foregroundMark x1="23875" y1="57625" x2="34500" y2="44000"/>
                        <a14:foregroundMark x1="34500" y1="44000" x2="21250" y2="39375"/>
                        <a14:foregroundMark x1="21250" y1="39375" x2="19250" y2="41250"/>
                        <a14:foregroundMark x1="26250" y1="40250" x2="27375" y2="52750"/>
                        <a14:foregroundMark x1="27375" y1="52750" x2="28875" y2="40125"/>
                        <a14:foregroundMark x1="28875" y1="40125" x2="18750" y2="45500"/>
                        <a14:foregroundMark x1="18750" y1="45500" x2="20750" y2="48625"/>
                        <a14:foregroundMark x1="26875" y1="40625" x2="27375" y2="58250"/>
                        <a14:foregroundMark x1="27375" y1="58250" x2="30625" y2="48375"/>
                        <a14:foregroundMark x1="30625" y1="48375" x2="20375" y2="51125"/>
                        <a14:foregroundMark x1="20375" y1="51125" x2="20375" y2="52375"/>
                        <a14:foregroundMark x1="19125" y1="42500" x2="25500" y2="55125"/>
                        <a14:foregroundMark x1="25500" y1="55125" x2="25125" y2="59500"/>
                        <a14:foregroundMark x1="22250" y1="56750" x2="21750" y2="58125"/>
                        <a14:foregroundMark x1="38500" y1="39875" x2="29750" y2="53250"/>
                        <a14:foregroundMark x1="29750" y1="53250" x2="34875" y2="62125"/>
                        <a14:foregroundMark x1="34875" y1="62125" x2="39750" y2="49375"/>
                        <a14:foregroundMark x1="39750" y1="49375" x2="36125" y2="43000"/>
                        <a14:foregroundMark x1="43375" y1="42375" x2="41000" y2="60750"/>
                        <a14:foregroundMark x1="41000" y1="60750" x2="51625" y2="47750"/>
                        <a14:foregroundMark x1="51625" y1="47750" x2="43375" y2="46875"/>
                        <a14:foregroundMark x1="43375" y1="46875" x2="41375" y2="48000"/>
                        <a14:foregroundMark x1="47125" y1="50750" x2="48375" y2="59000"/>
                        <a14:foregroundMark x1="48375" y1="59000" x2="45125" y2="53500"/>
                        <a14:foregroundMark x1="53625" y1="43250" x2="52125" y2="50125"/>
                        <a14:foregroundMark x1="52125" y1="50125" x2="54125" y2="58375"/>
                        <a14:foregroundMark x1="54125" y1="58375" x2="58125" y2="50500"/>
                        <a14:foregroundMark x1="58125" y1="50500" x2="53250" y2="45125"/>
                        <a14:foregroundMark x1="53250" y1="45125" x2="51500" y2="45375"/>
                        <a14:foregroundMark x1="58625" y1="42000" x2="59750" y2="52125"/>
                        <a14:foregroundMark x1="59750" y1="52125" x2="57750" y2="45000"/>
                        <a14:foregroundMark x1="63000" y1="45375" x2="61000" y2="62375"/>
                        <a14:foregroundMark x1="61000" y1="62375" x2="73375" y2="56375"/>
                        <a14:foregroundMark x1="73375" y1="56375" x2="72000" y2="45625"/>
                        <a14:foregroundMark x1="72000" y1="45625" x2="64375" y2="43500"/>
                        <a14:foregroundMark x1="64375" y1="43500" x2="61750" y2="33375"/>
                        <a14:foregroundMark x1="61750" y1="33375" x2="72625" y2="31250"/>
                        <a14:foregroundMark x1="72625" y1="31250" x2="67750" y2="44000"/>
                        <a14:foregroundMark x1="67750" y1="44000" x2="73125" y2="38125"/>
                        <a14:foregroundMark x1="73125" y1="38125" x2="81750" y2="37125"/>
                        <a14:foregroundMark x1="81750" y1="37125" x2="77625" y2="50250"/>
                        <a14:foregroundMark x1="77625" y1="50250" x2="81750" y2="52375"/>
                        <a14:foregroundMark x1="68875" y1="31750" x2="67125" y2="43250"/>
                        <a14:foregroundMark x1="67125" y1="43250" x2="69125" y2="34625"/>
                        <a14:foregroundMark x1="78750" y1="32500" x2="75250" y2="44500"/>
                        <a14:foregroundMark x1="75250" y1="44500" x2="79875" y2="36750"/>
                        <a14:foregroundMark x1="79875" y1="36750" x2="76875" y2="36375"/>
                        <a14:foregroundMark x1="78750" y1="46625" x2="80125" y2="55500"/>
                        <a14:foregroundMark x1="80125" y1="55500" x2="80750" y2="46125"/>
                        <a14:foregroundMark x1="80750" y1="46125" x2="77750" y2="45875"/>
                        <a14:foregroundMark x1="90375" y1="44000" x2="88750" y2="56375"/>
                        <a14:foregroundMark x1="45750" y1="10250" x2="57875" y2="11500"/>
                        <a14:foregroundMark x1="54125" y1="8875" x2="53500" y2="9125"/>
                        <a14:foregroundMark x1="49500" y1="90500" x2="54125" y2="89500"/>
                        <a14:foregroundMark x1="9625" y1="49625" x2="11000" y2="47125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3256" t="7288" r="7881" b="3666"/>
          <a:stretch>
            <a:fillRect/>
          </a:stretch>
        </p:blipFill>
        <p:spPr bwMode="auto">
          <a:xfrm>
            <a:off x="11238614" y="5890437"/>
            <a:ext cx="733648" cy="7351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ítulo 1">
            <a:extLst>
              <a:ext uri="{FF2B5EF4-FFF2-40B4-BE49-F238E27FC236}">
                <a16:creationId xmlns:a16="http://schemas.microsoft.com/office/drawing/2014/main" id="{7FB614B4-EA76-F71C-D26B-E7B33EAF0792}"/>
              </a:ext>
            </a:extLst>
          </p:cNvPr>
          <p:cNvSpPr txBox="1">
            <a:spLocks/>
          </p:cNvSpPr>
          <p:nvPr/>
        </p:nvSpPr>
        <p:spPr>
          <a:xfrm>
            <a:off x="2371951" y="192487"/>
            <a:ext cx="6942165" cy="854355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t-BR" sz="2700" dirty="0">
                <a:solidFill>
                  <a:schemeClr val="bg1">
                    <a:lumMod val="95000"/>
                  </a:schemeClr>
                </a:solidFill>
                <a:latin typeface="Avenir Next LT Pro Demi" panose="020B0704020202020204" pitchFamily="34" charset="0"/>
              </a:rPr>
              <a:t>Itens </a:t>
            </a:r>
            <a:r>
              <a:rPr lang="pt-BR" sz="2700" dirty="0" err="1">
                <a:solidFill>
                  <a:schemeClr val="bg1">
                    <a:lumMod val="95000"/>
                  </a:schemeClr>
                </a:solidFill>
                <a:latin typeface="Avenir Next LT Pro Demi" panose="020B0704020202020204" pitchFamily="34" charset="0"/>
              </a:rPr>
              <a:t>PETs</a:t>
            </a:r>
            <a:r>
              <a:rPr lang="pt-BR" sz="2700" dirty="0">
                <a:solidFill>
                  <a:schemeClr val="bg1">
                    <a:lumMod val="95000"/>
                  </a:schemeClr>
                </a:solidFill>
                <a:latin typeface="Avenir Next LT Pro Demi" panose="020B0704020202020204" pitchFamily="34" charset="0"/>
              </a:rPr>
              <a:t> </a:t>
            </a:r>
          </a:p>
        </p:txBody>
      </p:sp>
      <p:pic>
        <p:nvPicPr>
          <p:cNvPr id="7" name="Imagem 6">
            <a:hlinkClick r:id="rId6"/>
            <a:extLst>
              <a:ext uri="{FF2B5EF4-FFF2-40B4-BE49-F238E27FC236}">
                <a16:creationId xmlns:a16="http://schemas.microsoft.com/office/drawing/2014/main" id="{9E01BB16-11CE-DAD4-4207-B9EDA612C02C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ackgroundRemoval t="9901" b="93918" l="9910" r="89940">
                        <a14:foregroundMark x1="51502" y1="92928" x2="60811" y2="93918"/>
                      </a14:backgroundRemoval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733647" y="1479834"/>
            <a:ext cx="2278304" cy="2418560"/>
          </a:xfrm>
          <a:prstGeom prst="rect">
            <a:avLst/>
          </a:prstGeom>
        </p:spPr>
      </p:pic>
      <p:sp>
        <p:nvSpPr>
          <p:cNvPr id="8" name="CaixaDeTexto 7">
            <a:extLst>
              <a:ext uri="{FF2B5EF4-FFF2-40B4-BE49-F238E27FC236}">
                <a16:creationId xmlns:a16="http://schemas.microsoft.com/office/drawing/2014/main" id="{2DF3473E-2C4B-A17F-61BD-066F05AF8B58}"/>
              </a:ext>
            </a:extLst>
          </p:cNvPr>
          <p:cNvSpPr txBox="1"/>
          <p:nvPr/>
        </p:nvSpPr>
        <p:spPr>
          <a:xfrm>
            <a:off x="616398" y="4331386"/>
            <a:ext cx="2832513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r>
              <a:rPr lang="pt-BR" sz="2000" i="0" dirty="0">
                <a:solidFill>
                  <a:schemeClr val="bg2"/>
                </a:solidFill>
                <a:effectLst/>
                <a:latin typeface="Candara" panose="020E0502030303020204" pitchFamily="34" charset="0"/>
              </a:rPr>
              <a:t>Alimentador Inteligente Wi-Fi Para Pets</a:t>
            </a:r>
          </a:p>
        </p:txBody>
      </p:sp>
      <p:pic>
        <p:nvPicPr>
          <p:cNvPr id="9" name="Imagem 8">
            <a:extLst>
              <a:ext uri="{FF2B5EF4-FFF2-40B4-BE49-F238E27FC236}">
                <a16:creationId xmlns:a16="http://schemas.microsoft.com/office/drawing/2014/main" id="{8C0FCDB9-C5C7-1876-1DC5-1BA4F882FF1F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backgroundRemoval t="8180" b="89980" l="9818" r="91445">
                        <a14:foregroundMark x1="17672" y1="64008" x2="43759" y2="65031"/>
                        <a14:foregroundMark x1="19495" y1="54601" x2="56241" y2="55010"/>
                        <a14:foregroundMark x1="67602" y1="33947" x2="70407" y2="35174"/>
                        <a14:foregroundMark x1="69004" y1="19018" x2="70827" y2="8180"/>
                        <a14:foregroundMark x1="62553" y1="8998" x2="65778" y2="8384"/>
                        <a14:foregroundMark x1="74474" y1="10838" x2="75596" y2="10429"/>
                        <a14:foregroundMark x1="68724" y1="26380" x2="69425" y2="19836"/>
                        <a14:foregroundMark x1="66199" y1="33538" x2="73492" y2="35174"/>
                        <a14:foregroundMark x1="77700" y1="24949" x2="81487" y2="24335"/>
                        <a14:foregroundMark x1="80645" y1="25562" x2="91164" y2="25767"/>
                        <a14:foregroundMark x1="91445" y1="37014" x2="90743" y2="45603"/>
                        <a14:foregroundMark x1="9818" y1="23517" x2="15007" y2="23722"/>
                        <a14:foregroundMark x1="19495" y1="24540" x2="38289" y2="25562"/>
                        <a14:foregroundMark x1="70547" y1="9611" x2="73212" y2="9202"/>
                      </a14:backgroundRemoval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7879715" y="2124866"/>
            <a:ext cx="2118903" cy="1453216"/>
          </a:xfrm>
          <a:prstGeom prst="rect">
            <a:avLst/>
          </a:prstGeom>
        </p:spPr>
      </p:pic>
      <p:sp>
        <p:nvSpPr>
          <p:cNvPr id="10" name="CaixaDeTexto 9">
            <a:extLst>
              <a:ext uri="{FF2B5EF4-FFF2-40B4-BE49-F238E27FC236}">
                <a16:creationId xmlns:a16="http://schemas.microsoft.com/office/drawing/2014/main" id="{1D1765C2-0FF8-939B-E8D9-A878EDD32C58}"/>
              </a:ext>
            </a:extLst>
          </p:cNvPr>
          <p:cNvSpPr txBox="1"/>
          <p:nvPr/>
        </p:nvSpPr>
        <p:spPr>
          <a:xfrm>
            <a:off x="6869176" y="4331386"/>
            <a:ext cx="5200904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r>
              <a:rPr lang="pt-BR" sz="2000" i="0" dirty="0">
                <a:solidFill>
                  <a:schemeClr val="bg2"/>
                </a:solidFill>
                <a:effectLst/>
                <a:latin typeface="Candara" panose="020E0502030303020204" pitchFamily="34" charset="0"/>
              </a:rPr>
              <a:t>Bebedouro Inteligente Wi-Fi para Pets</a:t>
            </a:r>
          </a:p>
        </p:txBody>
      </p:sp>
      <p:pic>
        <p:nvPicPr>
          <p:cNvPr id="11" name="Imagem 10">
            <a:hlinkClick r:id="rId11"/>
            <a:extLst>
              <a:ext uri="{FF2B5EF4-FFF2-40B4-BE49-F238E27FC236}">
                <a16:creationId xmlns:a16="http://schemas.microsoft.com/office/drawing/2014/main" id="{7FF5CC56-9CFC-DA6A-85C7-7FFA07153739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BEBA8EAE-BF5A-486C-A8C5-ECC9F3942E4B}">
                <a14:imgProps xmlns:a14="http://schemas.microsoft.com/office/drawing/2010/main">
                  <a14:imgLayer r:embed="rId13">
                    <a14:imgEffect>
                      <a14:backgroundRemoval t="7578" b="89896" l="9937" r="89748">
                        <a14:foregroundMark x1="53470" y1="80238" x2="41640" y2="75780"/>
                        <a14:foregroundMark x1="41640" y1="75780" x2="30599" y2="58395"/>
                        <a14:foregroundMark x1="30599" y1="58395" x2="28707" y2="35513"/>
                        <a14:foregroundMark x1="72082" y1="87816" x2="43375" y2="86181"/>
                        <a14:foregroundMark x1="43375" y1="86181" x2="40852" y2="85587"/>
                        <a14:foregroundMark x1="42271" y1="78603" x2="24448" y2="65973"/>
                        <a14:foregroundMark x1="31703" y1="41456" x2="33438" y2="20357"/>
                        <a14:foregroundMark x1="35962" y1="18276" x2="60095" y2="8172"/>
                        <a14:foregroundMark x1="60410" y1="9510" x2="41640" y2="12036"/>
                        <a14:foregroundMark x1="41640" y1="12036" x2="32019" y2="20357"/>
                        <a14:foregroundMark x1="35174" y1="14413" x2="49685" y2="7727"/>
                        <a14:foregroundMark x1="49685" y1="7727" x2="56940" y2="7578"/>
                      </a14:backgroundRemoval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3787076" y="5531412"/>
            <a:ext cx="1369004" cy="1453216"/>
          </a:xfrm>
          <a:prstGeom prst="rect">
            <a:avLst/>
          </a:prstGeom>
        </p:spPr>
      </p:pic>
      <p:sp>
        <p:nvSpPr>
          <p:cNvPr id="2" name="CaixaDeTexto 1">
            <a:extLst>
              <a:ext uri="{FF2B5EF4-FFF2-40B4-BE49-F238E27FC236}">
                <a16:creationId xmlns:a16="http://schemas.microsoft.com/office/drawing/2014/main" id="{20911CB8-BA43-205F-D9DE-D1C6E4860191}"/>
              </a:ext>
            </a:extLst>
          </p:cNvPr>
          <p:cNvSpPr txBox="1"/>
          <p:nvPr/>
        </p:nvSpPr>
        <p:spPr>
          <a:xfrm>
            <a:off x="5156080" y="6265403"/>
            <a:ext cx="520090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sv-SE" dirty="0">
                <a:solidFill>
                  <a:schemeClr val="bg2"/>
                </a:solidFill>
                <a:latin typeface="Candara" panose="020E0502030303020204" pitchFamily="34" charset="0"/>
              </a:rPr>
              <a:t>Câmera Inteligente, Wi-Fi, Full HD 1080p</a:t>
            </a:r>
          </a:p>
        </p:txBody>
      </p:sp>
    </p:spTree>
    <p:extLst>
      <p:ext uri="{BB962C8B-B14F-4D97-AF65-F5344CB8AC3E}">
        <p14:creationId xmlns:p14="http://schemas.microsoft.com/office/powerpoint/2010/main" val="54944047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37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Vertical)">
                                      <p:cBhvr>
                                        <p:cTn id="7" dur="175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D4BB0652-9D63-B95B-B819-A731773C703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m 2" descr="Interface gráfica do usuário&#10;&#10;O conteúdo gerado por IA pode estar incorreto.">
            <a:extLst>
              <a:ext uri="{FF2B5EF4-FFF2-40B4-BE49-F238E27FC236}">
                <a16:creationId xmlns:a16="http://schemas.microsoft.com/office/drawing/2014/main" id="{7FCAF91B-17F1-98FE-CEDB-C54D548E992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6447" y="248306"/>
            <a:ext cx="1371600" cy="561358"/>
          </a:xfrm>
          <a:prstGeom prst="rect">
            <a:avLst/>
          </a:prstGeom>
        </p:spPr>
      </p:pic>
      <p:pic>
        <p:nvPicPr>
          <p:cNvPr id="1026" name="Picture 2" descr="logo claro PNG &amp; clipart images | Citypng">
            <a:extLst>
              <a:ext uri="{FF2B5EF4-FFF2-40B4-BE49-F238E27FC236}">
                <a16:creationId xmlns:a16="http://schemas.microsoft.com/office/drawing/2014/main" id="{836E4366-8253-33BA-185B-F2616D8A707D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ackgroundRemoval t="8875" b="90500" l="9625" r="90375">
                        <a14:foregroundMark x1="35125" y1="42750" x2="35125" y2="42750"/>
                        <a14:foregroundMark x1="35250" y1="45125" x2="33750" y2="54125"/>
                        <a14:foregroundMark x1="33750" y1="54125" x2="41375" y2="48750"/>
                        <a14:foregroundMark x1="41375" y1="48750" x2="36875" y2="40375"/>
                        <a14:foregroundMark x1="36875" y1="40375" x2="31375" y2="43625"/>
                        <a14:foregroundMark x1="22000" y1="41875" x2="12375" y2="50500"/>
                        <a14:foregroundMark x1="12375" y1="50500" x2="25625" y2="62375"/>
                        <a14:foregroundMark x1="25625" y1="62375" x2="52750" y2="64125"/>
                        <a14:foregroundMark x1="52750" y1="64125" x2="73500" y2="62500"/>
                        <a14:foregroundMark x1="73500" y1="62500" x2="87375" y2="56375"/>
                        <a14:foregroundMark x1="87375" y1="56375" x2="87125" y2="45625"/>
                        <a14:foregroundMark x1="87125" y1="45625" x2="84625" y2="37625"/>
                        <a14:foregroundMark x1="84625" y1="37625" x2="76500" y2="32125"/>
                        <a14:foregroundMark x1="76500" y1="32125" x2="57500" y2="27250"/>
                        <a14:foregroundMark x1="57500" y1="27250" x2="20250" y2="28750"/>
                        <a14:foregroundMark x1="20250" y1="28750" x2="15750" y2="38375"/>
                        <a14:foregroundMark x1="15750" y1="38375" x2="12250" y2="41125"/>
                        <a14:foregroundMark x1="28375" y1="36125" x2="17625" y2="48125"/>
                        <a14:foregroundMark x1="17625" y1="48125" x2="23875" y2="57625"/>
                        <a14:foregroundMark x1="23875" y1="57625" x2="34500" y2="44000"/>
                        <a14:foregroundMark x1="34500" y1="44000" x2="21250" y2="39375"/>
                        <a14:foregroundMark x1="21250" y1="39375" x2="19250" y2="41250"/>
                        <a14:foregroundMark x1="26250" y1="40250" x2="27375" y2="52750"/>
                        <a14:foregroundMark x1="27375" y1="52750" x2="28875" y2="40125"/>
                        <a14:foregroundMark x1="28875" y1="40125" x2="18750" y2="45500"/>
                        <a14:foregroundMark x1="18750" y1="45500" x2="20750" y2="48625"/>
                        <a14:foregroundMark x1="26875" y1="40625" x2="27375" y2="58250"/>
                        <a14:foregroundMark x1="27375" y1="58250" x2="30625" y2="48375"/>
                        <a14:foregroundMark x1="30625" y1="48375" x2="20375" y2="51125"/>
                        <a14:foregroundMark x1="20375" y1="51125" x2="20375" y2="52375"/>
                        <a14:foregroundMark x1="19125" y1="42500" x2="25500" y2="55125"/>
                        <a14:foregroundMark x1="25500" y1="55125" x2="25125" y2="59500"/>
                        <a14:foregroundMark x1="22250" y1="56750" x2="21750" y2="58125"/>
                        <a14:foregroundMark x1="38500" y1="39875" x2="29750" y2="53250"/>
                        <a14:foregroundMark x1="29750" y1="53250" x2="34875" y2="62125"/>
                        <a14:foregroundMark x1="34875" y1="62125" x2="39750" y2="49375"/>
                        <a14:foregroundMark x1="39750" y1="49375" x2="36125" y2="43000"/>
                        <a14:foregroundMark x1="43375" y1="42375" x2="41000" y2="60750"/>
                        <a14:foregroundMark x1="41000" y1="60750" x2="51625" y2="47750"/>
                        <a14:foregroundMark x1="51625" y1="47750" x2="43375" y2="46875"/>
                        <a14:foregroundMark x1="43375" y1="46875" x2="41375" y2="48000"/>
                        <a14:foregroundMark x1="47125" y1="50750" x2="48375" y2="59000"/>
                        <a14:foregroundMark x1="48375" y1="59000" x2="45125" y2="53500"/>
                        <a14:foregroundMark x1="53625" y1="43250" x2="52125" y2="50125"/>
                        <a14:foregroundMark x1="52125" y1="50125" x2="54125" y2="58375"/>
                        <a14:foregroundMark x1="54125" y1="58375" x2="58125" y2="50500"/>
                        <a14:foregroundMark x1="58125" y1="50500" x2="53250" y2="45125"/>
                        <a14:foregroundMark x1="53250" y1="45125" x2="51500" y2="45375"/>
                        <a14:foregroundMark x1="58625" y1="42000" x2="59750" y2="52125"/>
                        <a14:foregroundMark x1="59750" y1="52125" x2="57750" y2="45000"/>
                        <a14:foregroundMark x1="63000" y1="45375" x2="61000" y2="62375"/>
                        <a14:foregroundMark x1="61000" y1="62375" x2="73375" y2="56375"/>
                        <a14:foregroundMark x1="73375" y1="56375" x2="72000" y2="45625"/>
                        <a14:foregroundMark x1="72000" y1="45625" x2="64375" y2="43500"/>
                        <a14:foregroundMark x1="64375" y1="43500" x2="61750" y2="33375"/>
                        <a14:foregroundMark x1="61750" y1="33375" x2="72625" y2="31250"/>
                        <a14:foregroundMark x1="72625" y1="31250" x2="67750" y2="44000"/>
                        <a14:foregroundMark x1="67750" y1="44000" x2="73125" y2="38125"/>
                        <a14:foregroundMark x1="73125" y1="38125" x2="81750" y2="37125"/>
                        <a14:foregroundMark x1="81750" y1="37125" x2="77625" y2="50250"/>
                        <a14:foregroundMark x1="77625" y1="50250" x2="81750" y2="52375"/>
                        <a14:foregroundMark x1="68875" y1="31750" x2="67125" y2="43250"/>
                        <a14:foregroundMark x1="67125" y1="43250" x2="69125" y2="34625"/>
                        <a14:foregroundMark x1="78750" y1="32500" x2="75250" y2="44500"/>
                        <a14:foregroundMark x1="75250" y1="44500" x2="79875" y2="36750"/>
                        <a14:foregroundMark x1="79875" y1="36750" x2="76875" y2="36375"/>
                        <a14:foregroundMark x1="78750" y1="46625" x2="80125" y2="55500"/>
                        <a14:foregroundMark x1="80125" y1="55500" x2="80750" y2="46125"/>
                        <a14:foregroundMark x1="80750" y1="46125" x2="77750" y2="45875"/>
                        <a14:foregroundMark x1="90375" y1="44000" x2="88750" y2="56375"/>
                        <a14:foregroundMark x1="45750" y1="10250" x2="57875" y2="11500"/>
                        <a14:foregroundMark x1="54125" y1="8875" x2="53500" y2="9125"/>
                        <a14:foregroundMark x1="49500" y1="90500" x2="54125" y2="89500"/>
                        <a14:foregroundMark x1="9625" y1="49625" x2="11000" y2="47125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3256" t="7288" r="7881" b="3666"/>
          <a:stretch>
            <a:fillRect/>
          </a:stretch>
        </p:blipFill>
        <p:spPr bwMode="auto">
          <a:xfrm>
            <a:off x="11238614" y="5890437"/>
            <a:ext cx="733648" cy="7351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Rectangle 6">
            <a:extLst>
              <a:ext uri="{FF2B5EF4-FFF2-40B4-BE49-F238E27FC236}">
                <a16:creationId xmlns:a16="http://schemas.microsoft.com/office/drawing/2014/main" id="{141E0C60-C56B-7B42-3F31-EB09DB7D377A}"/>
              </a:ext>
            </a:extLst>
          </p:cNvPr>
          <p:cNvSpPr/>
          <p:nvPr/>
        </p:nvSpPr>
        <p:spPr>
          <a:xfrm>
            <a:off x="3860800" y="1651544"/>
            <a:ext cx="6750995" cy="39644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43681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360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Candara" panose="020E0502030303020204" pitchFamily="34" charset="0"/>
                <a:cs typeface="Cavolini" panose="020B0502040204020203" pitchFamily="66" charset="0"/>
              </a:rPr>
              <a:t>Maik Ribeiro</a:t>
            </a:r>
          </a:p>
          <a:p>
            <a:pPr marL="0" marR="0" lvl="0" indent="0" algn="ctr" defTabSz="43681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2800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Candara" panose="020E0502030303020204" pitchFamily="34" charset="0"/>
                <a:cs typeface="Segoe UI" panose="020B0502040204020203" pitchFamily="34" charset="0"/>
              </a:rPr>
              <a:t>Analista de Treinamento </a:t>
            </a:r>
          </a:p>
          <a:p>
            <a:pPr marL="0" marR="0" lvl="0" indent="0" algn="ctr" defTabSz="43681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2800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Candara" panose="020E0502030303020204" pitchFamily="34" charset="0"/>
                <a:cs typeface="Segoe UI" panose="020B0502040204020203" pitchFamily="34" charset="0"/>
              </a:rPr>
              <a:t> Reg. </a:t>
            </a:r>
            <a:r>
              <a:rPr lang="pt-BR" sz="2800" dirty="0">
                <a:solidFill>
                  <a:srgbClr val="FFC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ndara" panose="020E0502030303020204" pitchFamily="34" charset="0"/>
                <a:cs typeface="Segoe UI" panose="020B0502040204020203" pitchFamily="34" charset="0"/>
              </a:rPr>
              <a:t>RJ/ES</a:t>
            </a:r>
          </a:p>
          <a:p>
            <a:pPr marL="0" marR="0" lvl="0" indent="0" algn="ctr" defTabSz="43681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280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Candara" panose="020E0502030303020204" pitchFamily="34" charset="0"/>
              <a:cs typeface="Segoe UI" panose="020B0502040204020203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280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ndara" panose="020E0502030303020204" pitchFamily="34" charset="0"/>
              </a:rPr>
              <a:t>Formação em Administração de Empresas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2800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ndara" panose="020E0502030303020204" pitchFamily="34" charset="0"/>
              </a:rPr>
              <a:t>Na Claro há 1</a:t>
            </a:r>
            <a:r>
              <a:rPr lang="pt-BR" sz="2800" dirty="0">
                <a:solidFill>
                  <a:srgbClr val="FFC000"/>
                </a:solidFill>
                <a:latin typeface="Candara" panose="020E0502030303020204" pitchFamily="34" charset="0"/>
              </a:rPr>
              <a:t>1</a:t>
            </a:r>
            <a:r>
              <a:rPr kumimoji="0" lang="pt-BR" sz="2800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ndara" panose="020E0502030303020204" pitchFamily="34" charset="0"/>
              </a:rPr>
              <a:t> anos – desde 2013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2800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ndara" panose="020E0502030303020204" pitchFamily="34" charset="0"/>
              </a:rPr>
              <a:t>Analista de Treinamento II</a:t>
            </a:r>
          </a:p>
          <a:p>
            <a:pPr marL="0" marR="0" lvl="0" indent="0" algn="ctr" defTabSz="436816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4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Berlin Sans FB Demi" panose="020E0802020502020306" pitchFamily="34" charset="0"/>
              <a:ea typeface="+mn-ea"/>
              <a:cs typeface="Arial" panose="020B0604020202020204" pitchFamily="34" charset="0"/>
            </a:endParaRPr>
          </a:p>
        </p:txBody>
      </p:sp>
      <p:pic>
        <p:nvPicPr>
          <p:cNvPr id="4" name="Imagem 3">
            <a:extLst>
              <a:ext uri="{FF2B5EF4-FFF2-40B4-BE49-F238E27FC236}">
                <a16:creationId xmlns:a16="http://schemas.microsoft.com/office/drawing/2014/main" id="{ADA7A18A-C0C2-732F-2453-7EEA6B8DA66F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ackgroundRemoval t="9944" b="98687" l="779" r="95551">
                        <a14:foregroundMark x1="23359" y1="65916" x2="32036" y2="76861"/>
                        <a14:foregroundMark x1="33370" y1="61601" x2="51057" y2="60851"/>
                        <a14:foregroundMark x1="51057" y1="60851" x2="47164" y2="72045"/>
                        <a14:foregroundMark x1="47164" y1="72045" x2="66185" y2="73108"/>
                        <a14:foregroundMark x1="66185" y1="73108" x2="74305" y2="83365"/>
                        <a14:foregroundMark x1="74305" y1="83365" x2="78754" y2="76298"/>
                        <a14:foregroundMark x1="78754" y1="76298" x2="92659" y2="74672"/>
                        <a14:foregroundMark x1="92659" y1="74672" x2="92436" y2="74359"/>
                        <a14:foregroundMark x1="88432" y1="89619" x2="77531" y2="84428"/>
                        <a14:foregroundMark x1="77531" y1="84428" x2="37041" y2="78799"/>
                        <a14:foregroundMark x1="94549" y1="80300" x2="52169" y2="95935"/>
                        <a14:foregroundMark x1="52169" y1="95935" x2="15350" y2="98624"/>
                        <a14:foregroundMark x1="15350" y1="98624" x2="4116" y2="93996"/>
                        <a14:foregroundMark x1="4116" y1="93996" x2="1446" y2="75735"/>
                        <a14:foregroundMark x1="1446" y1="75735" x2="5117" y2="68168"/>
                        <a14:foregroundMark x1="5117" y1="68168" x2="3782" y2="57411"/>
                        <a14:foregroundMark x1="3782" y1="57411" x2="6785" y2="53471"/>
                        <a14:foregroundMark x1="10790" y1="79987" x2="17019" y2="87992"/>
                        <a14:foregroundMark x1="17019" y1="87992" x2="34816" y2="94309"/>
                        <a14:foregroundMark x1="34816" y1="94309" x2="52836" y2="88931"/>
                        <a14:foregroundMark x1="52836" y1="88931" x2="32925" y2="82427"/>
                        <a14:foregroundMark x1="32925" y1="82427" x2="12013" y2="79425"/>
                        <a14:foregroundMark x1="96663" y1="90682" x2="94772" y2="81989"/>
                        <a14:foregroundMark x1="94772" y1="81989" x2="93993" y2="81176"/>
                        <a14:foregroundMark x1="8343" y1="98687" x2="53281" y2="97373"/>
                        <a14:foregroundMark x1="53281" y1="97373" x2="88765" y2="98687"/>
                        <a14:foregroundMark x1="88988" y1="98687" x2="95551" y2="98499"/>
                        <a14:foregroundMark x1="6785" y1="53471" x2="21580" y2="52908"/>
                        <a14:foregroundMark x1="21580" y1="52908" x2="22581" y2="52908"/>
                        <a14:foregroundMark x1="21023" y1="51532" x2="28921" y2="51282"/>
                        <a14:foregroundMark x1="16796" y1="51094" x2="18354" y2="51094"/>
                        <a14:foregroundMark x1="17019" y1="51407" x2="779" y2="51845"/>
                        <a14:backgroundMark x1="13348" y1="26079" x2="6007" y2="38837"/>
                        <a14:backgroundMark x1="78754" y1="51094" x2="82202" y2="54972"/>
                        <a14:backgroundMark x1="98999" y1="73171" x2="98443" y2="74797"/>
                        <a14:backgroundMark x1="12570" y1="44903" x2="18131" y2="27830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42813"/>
            <a:ext cx="3688080" cy="65151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490754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36FD0963-3F06-2A1C-768E-4A6A36AA888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m 2" descr="Interface gráfica do usuário&#10;&#10;O conteúdo gerado por IA pode estar incorreto.">
            <a:extLst>
              <a:ext uri="{FF2B5EF4-FFF2-40B4-BE49-F238E27FC236}">
                <a16:creationId xmlns:a16="http://schemas.microsoft.com/office/drawing/2014/main" id="{E62F120B-81CF-2A1E-B608-279049979A5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6447" y="248306"/>
            <a:ext cx="1371600" cy="561358"/>
          </a:xfrm>
          <a:prstGeom prst="rect">
            <a:avLst/>
          </a:prstGeom>
        </p:spPr>
      </p:pic>
      <p:pic>
        <p:nvPicPr>
          <p:cNvPr id="1026" name="Picture 2" descr="logo claro PNG &amp; clipart images | Citypng">
            <a:extLst>
              <a:ext uri="{FF2B5EF4-FFF2-40B4-BE49-F238E27FC236}">
                <a16:creationId xmlns:a16="http://schemas.microsoft.com/office/drawing/2014/main" id="{DC01282B-71E7-B003-9178-441A0150AC2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ackgroundRemoval t="8875" b="90500" l="9625" r="90375">
                        <a14:foregroundMark x1="35125" y1="42750" x2="35125" y2="42750"/>
                        <a14:foregroundMark x1="35250" y1="45125" x2="33750" y2="54125"/>
                        <a14:foregroundMark x1="33750" y1="54125" x2="41375" y2="48750"/>
                        <a14:foregroundMark x1="41375" y1="48750" x2="36875" y2="40375"/>
                        <a14:foregroundMark x1="36875" y1="40375" x2="31375" y2="43625"/>
                        <a14:foregroundMark x1="22000" y1="41875" x2="12375" y2="50500"/>
                        <a14:foregroundMark x1="12375" y1="50500" x2="25625" y2="62375"/>
                        <a14:foregroundMark x1="25625" y1="62375" x2="52750" y2="64125"/>
                        <a14:foregroundMark x1="52750" y1="64125" x2="73500" y2="62500"/>
                        <a14:foregroundMark x1="73500" y1="62500" x2="87375" y2="56375"/>
                        <a14:foregroundMark x1="87375" y1="56375" x2="87125" y2="45625"/>
                        <a14:foregroundMark x1="87125" y1="45625" x2="84625" y2="37625"/>
                        <a14:foregroundMark x1="84625" y1="37625" x2="76500" y2="32125"/>
                        <a14:foregroundMark x1="76500" y1="32125" x2="57500" y2="27250"/>
                        <a14:foregroundMark x1="57500" y1="27250" x2="20250" y2="28750"/>
                        <a14:foregroundMark x1="20250" y1="28750" x2="15750" y2="38375"/>
                        <a14:foregroundMark x1="15750" y1="38375" x2="12250" y2="41125"/>
                        <a14:foregroundMark x1="28375" y1="36125" x2="17625" y2="48125"/>
                        <a14:foregroundMark x1="17625" y1="48125" x2="23875" y2="57625"/>
                        <a14:foregroundMark x1="23875" y1="57625" x2="34500" y2="44000"/>
                        <a14:foregroundMark x1="34500" y1="44000" x2="21250" y2="39375"/>
                        <a14:foregroundMark x1="21250" y1="39375" x2="19250" y2="41250"/>
                        <a14:foregroundMark x1="26250" y1="40250" x2="27375" y2="52750"/>
                        <a14:foregroundMark x1="27375" y1="52750" x2="28875" y2="40125"/>
                        <a14:foregroundMark x1="28875" y1="40125" x2="18750" y2="45500"/>
                        <a14:foregroundMark x1="18750" y1="45500" x2="20750" y2="48625"/>
                        <a14:foregroundMark x1="26875" y1="40625" x2="27375" y2="58250"/>
                        <a14:foregroundMark x1="27375" y1="58250" x2="30625" y2="48375"/>
                        <a14:foregroundMark x1="30625" y1="48375" x2="20375" y2="51125"/>
                        <a14:foregroundMark x1="20375" y1="51125" x2="20375" y2="52375"/>
                        <a14:foregroundMark x1="19125" y1="42500" x2="25500" y2="55125"/>
                        <a14:foregroundMark x1="25500" y1="55125" x2="25125" y2="59500"/>
                        <a14:foregroundMark x1="22250" y1="56750" x2="21750" y2="58125"/>
                        <a14:foregroundMark x1="38500" y1="39875" x2="29750" y2="53250"/>
                        <a14:foregroundMark x1="29750" y1="53250" x2="34875" y2="62125"/>
                        <a14:foregroundMark x1="34875" y1="62125" x2="39750" y2="49375"/>
                        <a14:foregroundMark x1="39750" y1="49375" x2="36125" y2="43000"/>
                        <a14:foregroundMark x1="43375" y1="42375" x2="41000" y2="60750"/>
                        <a14:foregroundMark x1="41000" y1="60750" x2="51625" y2="47750"/>
                        <a14:foregroundMark x1="51625" y1="47750" x2="43375" y2="46875"/>
                        <a14:foregroundMark x1="43375" y1="46875" x2="41375" y2="48000"/>
                        <a14:foregroundMark x1="47125" y1="50750" x2="48375" y2="59000"/>
                        <a14:foregroundMark x1="48375" y1="59000" x2="45125" y2="53500"/>
                        <a14:foregroundMark x1="53625" y1="43250" x2="52125" y2="50125"/>
                        <a14:foregroundMark x1="52125" y1="50125" x2="54125" y2="58375"/>
                        <a14:foregroundMark x1="54125" y1="58375" x2="58125" y2="50500"/>
                        <a14:foregroundMark x1="58125" y1="50500" x2="53250" y2="45125"/>
                        <a14:foregroundMark x1="53250" y1="45125" x2="51500" y2="45375"/>
                        <a14:foregroundMark x1="58625" y1="42000" x2="59750" y2="52125"/>
                        <a14:foregroundMark x1="59750" y1="52125" x2="57750" y2="45000"/>
                        <a14:foregroundMark x1="63000" y1="45375" x2="61000" y2="62375"/>
                        <a14:foregroundMark x1="61000" y1="62375" x2="73375" y2="56375"/>
                        <a14:foregroundMark x1="73375" y1="56375" x2="72000" y2="45625"/>
                        <a14:foregroundMark x1="72000" y1="45625" x2="64375" y2="43500"/>
                        <a14:foregroundMark x1="64375" y1="43500" x2="61750" y2="33375"/>
                        <a14:foregroundMark x1="61750" y1="33375" x2="72625" y2="31250"/>
                        <a14:foregroundMark x1="72625" y1="31250" x2="67750" y2="44000"/>
                        <a14:foregroundMark x1="67750" y1="44000" x2="73125" y2="38125"/>
                        <a14:foregroundMark x1="73125" y1="38125" x2="81750" y2="37125"/>
                        <a14:foregroundMark x1="81750" y1="37125" x2="77625" y2="50250"/>
                        <a14:foregroundMark x1="77625" y1="50250" x2="81750" y2="52375"/>
                        <a14:foregroundMark x1="68875" y1="31750" x2="67125" y2="43250"/>
                        <a14:foregroundMark x1="67125" y1="43250" x2="69125" y2="34625"/>
                        <a14:foregroundMark x1="78750" y1="32500" x2="75250" y2="44500"/>
                        <a14:foregroundMark x1="75250" y1="44500" x2="79875" y2="36750"/>
                        <a14:foregroundMark x1="79875" y1="36750" x2="76875" y2="36375"/>
                        <a14:foregroundMark x1="78750" y1="46625" x2="80125" y2="55500"/>
                        <a14:foregroundMark x1="80125" y1="55500" x2="80750" y2="46125"/>
                        <a14:foregroundMark x1="80750" y1="46125" x2="77750" y2="45875"/>
                        <a14:foregroundMark x1="90375" y1="44000" x2="88750" y2="56375"/>
                        <a14:foregroundMark x1="45750" y1="10250" x2="57875" y2="11500"/>
                        <a14:foregroundMark x1="54125" y1="8875" x2="53500" y2="9125"/>
                        <a14:foregroundMark x1="49500" y1="90500" x2="54125" y2="89500"/>
                        <a14:foregroundMark x1="9625" y1="49625" x2="11000" y2="47125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3256" t="7288" r="7881" b="3666"/>
          <a:stretch>
            <a:fillRect/>
          </a:stretch>
        </p:blipFill>
        <p:spPr bwMode="auto">
          <a:xfrm>
            <a:off x="11238614" y="5890437"/>
            <a:ext cx="733648" cy="7351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CaixaDeTexto 1">
            <a:extLst>
              <a:ext uri="{FF2B5EF4-FFF2-40B4-BE49-F238E27FC236}">
                <a16:creationId xmlns:a16="http://schemas.microsoft.com/office/drawing/2014/main" id="{9F5C156C-BE17-92DA-A558-540A82E5716B}"/>
              </a:ext>
            </a:extLst>
          </p:cNvPr>
          <p:cNvSpPr txBox="1"/>
          <p:nvPr/>
        </p:nvSpPr>
        <p:spPr>
          <a:xfrm>
            <a:off x="2413588" y="3028890"/>
            <a:ext cx="736482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>
              <a:spcBef>
                <a:spcPts val="1200"/>
              </a:spcBef>
            </a:pPr>
            <a:r>
              <a:rPr lang="da-DK" sz="3600" b="1" i="1" dirty="0">
                <a:solidFill>
                  <a:schemeClr val="bg1">
                    <a:lumMod val="95000"/>
                  </a:schemeClr>
                </a:solidFill>
                <a:latin typeface="Candara" panose="020E0502030303020204" pitchFamily="34" charset="0"/>
                <a:ea typeface="Quattrocento Sans"/>
                <a:cs typeface="Times New Roman" panose="02020603050405020304" pitchFamily="18" charset="0"/>
                <a:sym typeface="Quattrocento Sans"/>
              </a:rPr>
              <a:t>Sonoros </a:t>
            </a:r>
            <a:endParaRPr lang="da-DK" sz="2000" b="1" i="1" dirty="0">
              <a:solidFill>
                <a:schemeClr val="bg1">
                  <a:lumMod val="95000"/>
                </a:schemeClr>
              </a:solidFill>
              <a:latin typeface="Candara" panose="020E0502030303020204" pitchFamily="34" charset="0"/>
              <a:ea typeface="Quattrocento Sans"/>
              <a:cs typeface="Times New Roman" panose="02020603050405020304" pitchFamily="18" charset="0"/>
              <a:sym typeface="Quattrocento Sans"/>
            </a:endParaRPr>
          </a:p>
        </p:txBody>
      </p:sp>
      <p:pic>
        <p:nvPicPr>
          <p:cNvPr id="20" name="Imagem 19">
            <a:hlinkClick r:id="rId6"/>
            <a:extLst>
              <a:ext uri="{FF2B5EF4-FFF2-40B4-BE49-F238E27FC236}">
                <a16:creationId xmlns:a16="http://schemas.microsoft.com/office/drawing/2014/main" id="{A90F011C-E458-7EA7-A041-E5E0C222FD11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 rot="328715">
            <a:off x="11101564" y="166786"/>
            <a:ext cx="594251" cy="947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5206393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64B091D7-D06F-EEF3-2F1C-D5C2B5D73EC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m 2" descr="Interface gráfica do usuário&#10;&#10;O conteúdo gerado por IA pode estar incorreto.">
            <a:extLst>
              <a:ext uri="{FF2B5EF4-FFF2-40B4-BE49-F238E27FC236}">
                <a16:creationId xmlns:a16="http://schemas.microsoft.com/office/drawing/2014/main" id="{13CDF43B-D778-9F13-4B47-53C4352CC07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6447" y="248306"/>
            <a:ext cx="1371600" cy="561358"/>
          </a:xfrm>
          <a:prstGeom prst="rect">
            <a:avLst/>
          </a:prstGeom>
        </p:spPr>
      </p:pic>
      <p:pic>
        <p:nvPicPr>
          <p:cNvPr id="1026" name="Picture 2" descr="logo claro PNG &amp; clipart images | Citypng">
            <a:extLst>
              <a:ext uri="{FF2B5EF4-FFF2-40B4-BE49-F238E27FC236}">
                <a16:creationId xmlns:a16="http://schemas.microsoft.com/office/drawing/2014/main" id="{2C0217F4-6FC5-D8F2-59A9-79008251C51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ackgroundRemoval t="8875" b="90500" l="9625" r="90375">
                        <a14:foregroundMark x1="35125" y1="42750" x2="35125" y2="42750"/>
                        <a14:foregroundMark x1="35250" y1="45125" x2="33750" y2="54125"/>
                        <a14:foregroundMark x1="33750" y1="54125" x2="41375" y2="48750"/>
                        <a14:foregroundMark x1="41375" y1="48750" x2="36875" y2="40375"/>
                        <a14:foregroundMark x1="36875" y1="40375" x2="31375" y2="43625"/>
                        <a14:foregroundMark x1="22000" y1="41875" x2="12375" y2="50500"/>
                        <a14:foregroundMark x1="12375" y1="50500" x2="25625" y2="62375"/>
                        <a14:foregroundMark x1="25625" y1="62375" x2="52750" y2="64125"/>
                        <a14:foregroundMark x1="52750" y1="64125" x2="73500" y2="62500"/>
                        <a14:foregroundMark x1="73500" y1="62500" x2="87375" y2="56375"/>
                        <a14:foregroundMark x1="87375" y1="56375" x2="87125" y2="45625"/>
                        <a14:foregroundMark x1="87125" y1="45625" x2="84625" y2="37625"/>
                        <a14:foregroundMark x1="84625" y1="37625" x2="76500" y2="32125"/>
                        <a14:foregroundMark x1="76500" y1="32125" x2="57500" y2="27250"/>
                        <a14:foregroundMark x1="57500" y1="27250" x2="20250" y2="28750"/>
                        <a14:foregroundMark x1="20250" y1="28750" x2="15750" y2="38375"/>
                        <a14:foregroundMark x1="15750" y1="38375" x2="12250" y2="41125"/>
                        <a14:foregroundMark x1="28375" y1="36125" x2="17625" y2="48125"/>
                        <a14:foregroundMark x1="17625" y1="48125" x2="23875" y2="57625"/>
                        <a14:foregroundMark x1="23875" y1="57625" x2="34500" y2="44000"/>
                        <a14:foregroundMark x1="34500" y1="44000" x2="21250" y2="39375"/>
                        <a14:foregroundMark x1="21250" y1="39375" x2="19250" y2="41250"/>
                        <a14:foregroundMark x1="26250" y1="40250" x2="27375" y2="52750"/>
                        <a14:foregroundMark x1="27375" y1="52750" x2="28875" y2="40125"/>
                        <a14:foregroundMark x1="28875" y1="40125" x2="18750" y2="45500"/>
                        <a14:foregroundMark x1="18750" y1="45500" x2="20750" y2="48625"/>
                        <a14:foregroundMark x1="26875" y1="40625" x2="27375" y2="58250"/>
                        <a14:foregroundMark x1="27375" y1="58250" x2="30625" y2="48375"/>
                        <a14:foregroundMark x1="30625" y1="48375" x2="20375" y2="51125"/>
                        <a14:foregroundMark x1="20375" y1="51125" x2="20375" y2="52375"/>
                        <a14:foregroundMark x1="19125" y1="42500" x2="25500" y2="55125"/>
                        <a14:foregroundMark x1="25500" y1="55125" x2="25125" y2="59500"/>
                        <a14:foregroundMark x1="22250" y1="56750" x2="21750" y2="58125"/>
                        <a14:foregroundMark x1="38500" y1="39875" x2="29750" y2="53250"/>
                        <a14:foregroundMark x1="29750" y1="53250" x2="34875" y2="62125"/>
                        <a14:foregroundMark x1="34875" y1="62125" x2="39750" y2="49375"/>
                        <a14:foregroundMark x1="39750" y1="49375" x2="36125" y2="43000"/>
                        <a14:foregroundMark x1="43375" y1="42375" x2="41000" y2="60750"/>
                        <a14:foregroundMark x1="41000" y1="60750" x2="51625" y2="47750"/>
                        <a14:foregroundMark x1="51625" y1="47750" x2="43375" y2="46875"/>
                        <a14:foregroundMark x1="43375" y1="46875" x2="41375" y2="48000"/>
                        <a14:foregroundMark x1="47125" y1="50750" x2="48375" y2="59000"/>
                        <a14:foregroundMark x1="48375" y1="59000" x2="45125" y2="53500"/>
                        <a14:foregroundMark x1="53625" y1="43250" x2="52125" y2="50125"/>
                        <a14:foregroundMark x1="52125" y1="50125" x2="54125" y2="58375"/>
                        <a14:foregroundMark x1="54125" y1="58375" x2="58125" y2="50500"/>
                        <a14:foregroundMark x1="58125" y1="50500" x2="53250" y2="45125"/>
                        <a14:foregroundMark x1="53250" y1="45125" x2="51500" y2="45375"/>
                        <a14:foregroundMark x1="58625" y1="42000" x2="59750" y2="52125"/>
                        <a14:foregroundMark x1="59750" y1="52125" x2="57750" y2="45000"/>
                        <a14:foregroundMark x1="63000" y1="45375" x2="61000" y2="62375"/>
                        <a14:foregroundMark x1="61000" y1="62375" x2="73375" y2="56375"/>
                        <a14:foregroundMark x1="73375" y1="56375" x2="72000" y2="45625"/>
                        <a14:foregroundMark x1="72000" y1="45625" x2="64375" y2="43500"/>
                        <a14:foregroundMark x1="64375" y1="43500" x2="61750" y2="33375"/>
                        <a14:foregroundMark x1="61750" y1="33375" x2="72625" y2="31250"/>
                        <a14:foregroundMark x1="72625" y1="31250" x2="67750" y2="44000"/>
                        <a14:foregroundMark x1="67750" y1="44000" x2="73125" y2="38125"/>
                        <a14:foregroundMark x1="73125" y1="38125" x2="81750" y2="37125"/>
                        <a14:foregroundMark x1="81750" y1="37125" x2="77625" y2="50250"/>
                        <a14:foregroundMark x1="77625" y1="50250" x2="81750" y2="52375"/>
                        <a14:foregroundMark x1="68875" y1="31750" x2="67125" y2="43250"/>
                        <a14:foregroundMark x1="67125" y1="43250" x2="69125" y2="34625"/>
                        <a14:foregroundMark x1="78750" y1="32500" x2="75250" y2="44500"/>
                        <a14:foregroundMark x1="75250" y1="44500" x2="79875" y2="36750"/>
                        <a14:foregroundMark x1="79875" y1="36750" x2="76875" y2="36375"/>
                        <a14:foregroundMark x1="78750" y1="46625" x2="80125" y2="55500"/>
                        <a14:foregroundMark x1="80125" y1="55500" x2="80750" y2="46125"/>
                        <a14:foregroundMark x1="80750" y1="46125" x2="77750" y2="45875"/>
                        <a14:foregroundMark x1="90375" y1="44000" x2="88750" y2="56375"/>
                        <a14:foregroundMark x1="45750" y1="10250" x2="57875" y2="11500"/>
                        <a14:foregroundMark x1="54125" y1="8875" x2="53500" y2="9125"/>
                        <a14:foregroundMark x1="49500" y1="90500" x2="54125" y2="89500"/>
                        <a14:foregroundMark x1="9625" y1="49625" x2="11000" y2="47125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3256" t="7288" r="7881" b="3666"/>
          <a:stretch>
            <a:fillRect/>
          </a:stretch>
        </p:blipFill>
        <p:spPr bwMode="auto">
          <a:xfrm>
            <a:off x="11238614" y="5890437"/>
            <a:ext cx="733648" cy="7351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CaixaDeTexto 1">
            <a:extLst>
              <a:ext uri="{FF2B5EF4-FFF2-40B4-BE49-F238E27FC236}">
                <a16:creationId xmlns:a16="http://schemas.microsoft.com/office/drawing/2014/main" id="{BBEFBD70-BDFE-FDD5-687F-8B331539EDB7}"/>
              </a:ext>
            </a:extLst>
          </p:cNvPr>
          <p:cNvSpPr txBox="1"/>
          <p:nvPr/>
        </p:nvSpPr>
        <p:spPr>
          <a:xfrm>
            <a:off x="2342468" y="809664"/>
            <a:ext cx="736482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>
              <a:spcBef>
                <a:spcPts val="1200"/>
              </a:spcBef>
            </a:pPr>
            <a:r>
              <a:rPr lang="da-DK" sz="3600" b="1" i="1" dirty="0">
                <a:solidFill>
                  <a:schemeClr val="bg1">
                    <a:lumMod val="95000"/>
                  </a:schemeClr>
                </a:solidFill>
                <a:latin typeface="Candara" panose="020E0502030303020204" pitchFamily="34" charset="0"/>
                <a:ea typeface="Quattrocento Sans"/>
                <a:cs typeface="Times New Roman" panose="02020603050405020304" pitchFamily="18" charset="0"/>
                <a:sym typeface="Quattrocento Sans"/>
              </a:rPr>
              <a:t>JBL</a:t>
            </a:r>
            <a:endParaRPr lang="da-DK" sz="2000" b="1" i="1" dirty="0">
              <a:solidFill>
                <a:schemeClr val="bg1">
                  <a:lumMod val="95000"/>
                </a:schemeClr>
              </a:solidFill>
              <a:latin typeface="Candara" panose="020E0502030303020204" pitchFamily="34" charset="0"/>
              <a:ea typeface="Quattrocento Sans"/>
              <a:cs typeface="Times New Roman" panose="02020603050405020304" pitchFamily="18" charset="0"/>
              <a:sym typeface="Quattrocento Sans"/>
            </a:endParaRPr>
          </a:p>
        </p:txBody>
      </p:sp>
      <p:pic>
        <p:nvPicPr>
          <p:cNvPr id="20" name="Imagem 19">
            <a:hlinkClick r:id="rId6"/>
            <a:extLst>
              <a:ext uri="{FF2B5EF4-FFF2-40B4-BE49-F238E27FC236}">
                <a16:creationId xmlns:a16="http://schemas.microsoft.com/office/drawing/2014/main" id="{A385A638-34D5-DC4B-E82C-00F2E6D14FFF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 rot="328715">
            <a:off x="11101564" y="166786"/>
            <a:ext cx="594251" cy="947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9532267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6080AB84-7CD6-033B-3648-BA6E4647C1F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m 2" descr="Interface gráfica do usuário&#10;&#10;O conteúdo gerado por IA pode estar incorreto.">
            <a:extLst>
              <a:ext uri="{FF2B5EF4-FFF2-40B4-BE49-F238E27FC236}">
                <a16:creationId xmlns:a16="http://schemas.microsoft.com/office/drawing/2014/main" id="{44371275-1E7A-6D4F-6BFA-1A097346B47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6447" y="248306"/>
            <a:ext cx="1371600" cy="561358"/>
          </a:xfrm>
          <a:prstGeom prst="rect">
            <a:avLst/>
          </a:prstGeom>
        </p:spPr>
      </p:pic>
      <p:pic>
        <p:nvPicPr>
          <p:cNvPr id="1026" name="Picture 2" descr="logo claro PNG &amp; clipart images | Citypng">
            <a:extLst>
              <a:ext uri="{FF2B5EF4-FFF2-40B4-BE49-F238E27FC236}">
                <a16:creationId xmlns:a16="http://schemas.microsoft.com/office/drawing/2014/main" id="{C33F2204-96B5-EAD9-1074-6013749E252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ackgroundRemoval t="8875" b="90500" l="9625" r="90375">
                        <a14:foregroundMark x1="35125" y1="42750" x2="35125" y2="42750"/>
                        <a14:foregroundMark x1="35250" y1="45125" x2="33750" y2="54125"/>
                        <a14:foregroundMark x1="33750" y1="54125" x2="41375" y2="48750"/>
                        <a14:foregroundMark x1="41375" y1="48750" x2="36875" y2="40375"/>
                        <a14:foregroundMark x1="36875" y1="40375" x2="31375" y2="43625"/>
                        <a14:foregroundMark x1="22000" y1="41875" x2="12375" y2="50500"/>
                        <a14:foregroundMark x1="12375" y1="50500" x2="25625" y2="62375"/>
                        <a14:foregroundMark x1="25625" y1="62375" x2="52750" y2="64125"/>
                        <a14:foregroundMark x1="52750" y1="64125" x2="73500" y2="62500"/>
                        <a14:foregroundMark x1="73500" y1="62500" x2="87375" y2="56375"/>
                        <a14:foregroundMark x1="87375" y1="56375" x2="87125" y2="45625"/>
                        <a14:foregroundMark x1="87125" y1="45625" x2="84625" y2="37625"/>
                        <a14:foregroundMark x1="84625" y1="37625" x2="76500" y2="32125"/>
                        <a14:foregroundMark x1="76500" y1="32125" x2="57500" y2="27250"/>
                        <a14:foregroundMark x1="57500" y1="27250" x2="20250" y2="28750"/>
                        <a14:foregroundMark x1="20250" y1="28750" x2="15750" y2="38375"/>
                        <a14:foregroundMark x1="15750" y1="38375" x2="12250" y2="41125"/>
                        <a14:foregroundMark x1="28375" y1="36125" x2="17625" y2="48125"/>
                        <a14:foregroundMark x1="17625" y1="48125" x2="23875" y2="57625"/>
                        <a14:foregroundMark x1="23875" y1="57625" x2="34500" y2="44000"/>
                        <a14:foregroundMark x1="34500" y1="44000" x2="21250" y2="39375"/>
                        <a14:foregroundMark x1="21250" y1="39375" x2="19250" y2="41250"/>
                        <a14:foregroundMark x1="26250" y1="40250" x2="27375" y2="52750"/>
                        <a14:foregroundMark x1="27375" y1="52750" x2="28875" y2="40125"/>
                        <a14:foregroundMark x1="28875" y1="40125" x2="18750" y2="45500"/>
                        <a14:foregroundMark x1="18750" y1="45500" x2="20750" y2="48625"/>
                        <a14:foregroundMark x1="26875" y1="40625" x2="27375" y2="58250"/>
                        <a14:foregroundMark x1="27375" y1="58250" x2="30625" y2="48375"/>
                        <a14:foregroundMark x1="30625" y1="48375" x2="20375" y2="51125"/>
                        <a14:foregroundMark x1="20375" y1="51125" x2="20375" y2="52375"/>
                        <a14:foregroundMark x1="19125" y1="42500" x2="25500" y2="55125"/>
                        <a14:foregroundMark x1="25500" y1="55125" x2="25125" y2="59500"/>
                        <a14:foregroundMark x1="22250" y1="56750" x2="21750" y2="58125"/>
                        <a14:foregroundMark x1="38500" y1="39875" x2="29750" y2="53250"/>
                        <a14:foregroundMark x1="29750" y1="53250" x2="34875" y2="62125"/>
                        <a14:foregroundMark x1="34875" y1="62125" x2="39750" y2="49375"/>
                        <a14:foregroundMark x1="39750" y1="49375" x2="36125" y2="43000"/>
                        <a14:foregroundMark x1="43375" y1="42375" x2="41000" y2="60750"/>
                        <a14:foregroundMark x1="41000" y1="60750" x2="51625" y2="47750"/>
                        <a14:foregroundMark x1="51625" y1="47750" x2="43375" y2="46875"/>
                        <a14:foregroundMark x1="43375" y1="46875" x2="41375" y2="48000"/>
                        <a14:foregroundMark x1="47125" y1="50750" x2="48375" y2="59000"/>
                        <a14:foregroundMark x1="48375" y1="59000" x2="45125" y2="53500"/>
                        <a14:foregroundMark x1="53625" y1="43250" x2="52125" y2="50125"/>
                        <a14:foregroundMark x1="52125" y1="50125" x2="54125" y2="58375"/>
                        <a14:foregroundMark x1="54125" y1="58375" x2="58125" y2="50500"/>
                        <a14:foregroundMark x1="58125" y1="50500" x2="53250" y2="45125"/>
                        <a14:foregroundMark x1="53250" y1="45125" x2="51500" y2="45375"/>
                        <a14:foregroundMark x1="58625" y1="42000" x2="59750" y2="52125"/>
                        <a14:foregroundMark x1="59750" y1="52125" x2="57750" y2="45000"/>
                        <a14:foregroundMark x1="63000" y1="45375" x2="61000" y2="62375"/>
                        <a14:foregroundMark x1="61000" y1="62375" x2="73375" y2="56375"/>
                        <a14:foregroundMark x1="73375" y1="56375" x2="72000" y2="45625"/>
                        <a14:foregroundMark x1="72000" y1="45625" x2="64375" y2="43500"/>
                        <a14:foregroundMark x1="64375" y1="43500" x2="61750" y2="33375"/>
                        <a14:foregroundMark x1="61750" y1="33375" x2="72625" y2="31250"/>
                        <a14:foregroundMark x1="72625" y1="31250" x2="67750" y2="44000"/>
                        <a14:foregroundMark x1="67750" y1="44000" x2="73125" y2="38125"/>
                        <a14:foregroundMark x1="73125" y1="38125" x2="81750" y2="37125"/>
                        <a14:foregroundMark x1="81750" y1="37125" x2="77625" y2="50250"/>
                        <a14:foregroundMark x1="77625" y1="50250" x2="81750" y2="52375"/>
                        <a14:foregroundMark x1="68875" y1="31750" x2="67125" y2="43250"/>
                        <a14:foregroundMark x1="67125" y1="43250" x2="69125" y2="34625"/>
                        <a14:foregroundMark x1="78750" y1="32500" x2="75250" y2="44500"/>
                        <a14:foregroundMark x1="75250" y1="44500" x2="79875" y2="36750"/>
                        <a14:foregroundMark x1="79875" y1="36750" x2="76875" y2="36375"/>
                        <a14:foregroundMark x1="78750" y1="46625" x2="80125" y2="55500"/>
                        <a14:foregroundMark x1="80125" y1="55500" x2="80750" y2="46125"/>
                        <a14:foregroundMark x1="80750" y1="46125" x2="77750" y2="45875"/>
                        <a14:foregroundMark x1="90375" y1="44000" x2="88750" y2="56375"/>
                        <a14:foregroundMark x1="45750" y1="10250" x2="57875" y2="11500"/>
                        <a14:foregroundMark x1="54125" y1="8875" x2="53500" y2="9125"/>
                        <a14:foregroundMark x1="49500" y1="90500" x2="54125" y2="89500"/>
                        <a14:foregroundMark x1="9625" y1="49625" x2="11000" y2="47125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3256" t="7288" r="7881" b="3666"/>
          <a:stretch>
            <a:fillRect/>
          </a:stretch>
        </p:blipFill>
        <p:spPr bwMode="auto">
          <a:xfrm>
            <a:off x="11238614" y="5890437"/>
            <a:ext cx="733648" cy="7351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CaixaDeTexto 1">
            <a:extLst>
              <a:ext uri="{FF2B5EF4-FFF2-40B4-BE49-F238E27FC236}">
                <a16:creationId xmlns:a16="http://schemas.microsoft.com/office/drawing/2014/main" id="{5AB76F1C-71F4-CDE2-F83D-9C66F0C15322}"/>
              </a:ext>
            </a:extLst>
          </p:cNvPr>
          <p:cNvSpPr txBox="1"/>
          <p:nvPr/>
        </p:nvSpPr>
        <p:spPr>
          <a:xfrm>
            <a:off x="2413588" y="3028890"/>
            <a:ext cx="736482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>
              <a:spcBef>
                <a:spcPts val="1200"/>
              </a:spcBef>
            </a:pPr>
            <a:r>
              <a:rPr lang="da-DK" sz="3600" b="1" i="1" dirty="0">
                <a:solidFill>
                  <a:schemeClr val="bg1">
                    <a:lumMod val="95000"/>
                  </a:schemeClr>
                </a:solidFill>
                <a:latin typeface="Candara" panose="020E0502030303020204" pitchFamily="34" charset="0"/>
                <a:ea typeface="Quattrocento Sans"/>
                <a:cs typeface="Times New Roman" panose="02020603050405020304" pitchFamily="18" charset="0"/>
                <a:sym typeface="Quattrocento Sans"/>
              </a:rPr>
              <a:t>Tecnologia </a:t>
            </a:r>
            <a:endParaRPr lang="da-DK" sz="2000" b="1" i="1" dirty="0">
              <a:solidFill>
                <a:schemeClr val="bg1">
                  <a:lumMod val="95000"/>
                </a:schemeClr>
              </a:solidFill>
              <a:latin typeface="Candara" panose="020E0502030303020204" pitchFamily="34" charset="0"/>
              <a:ea typeface="Quattrocento Sans"/>
              <a:cs typeface="Times New Roman" panose="02020603050405020304" pitchFamily="18" charset="0"/>
              <a:sym typeface="Quattrocento Sans"/>
            </a:endParaRPr>
          </a:p>
        </p:txBody>
      </p:sp>
      <p:pic>
        <p:nvPicPr>
          <p:cNvPr id="20" name="Imagem 19">
            <a:hlinkClick r:id="rId6"/>
            <a:extLst>
              <a:ext uri="{FF2B5EF4-FFF2-40B4-BE49-F238E27FC236}">
                <a16:creationId xmlns:a16="http://schemas.microsoft.com/office/drawing/2014/main" id="{E06DFEF1-455A-D127-44B5-4C5896075D2D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 rot="328715">
            <a:off x="11101564" y="166786"/>
            <a:ext cx="594251" cy="947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7366095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913834DA-975D-0864-7F70-4D99BD533A7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m 2" descr="Interface gráfica do usuário&#10;&#10;O conteúdo gerado por IA pode estar incorreto.">
            <a:extLst>
              <a:ext uri="{FF2B5EF4-FFF2-40B4-BE49-F238E27FC236}">
                <a16:creationId xmlns:a16="http://schemas.microsoft.com/office/drawing/2014/main" id="{6BA9D0BE-904C-5EC7-C9D9-FF914BEE6C4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6447" y="248306"/>
            <a:ext cx="1371600" cy="561358"/>
          </a:xfrm>
          <a:prstGeom prst="rect">
            <a:avLst/>
          </a:prstGeom>
        </p:spPr>
      </p:pic>
      <p:pic>
        <p:nvPicPr>
          <p:cNvPr id="1026" name="Picture 2" descr="logo claro PNG &amp; clipart images | Citypng">
            <a:extLst>
              <a:ext uri="{FF2B5EF4-FFF2-40B4-BE49-F238E27FC236}">
                <a16:creationId xmlns:a16="http://schemas.microsoft.com/office/drawing/2014/main" id="{E93089CB-5B16-7E11-54B3-7F885780148B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ackgroundRemoval t="8875" b="90500" l="9625" r="90375">
                        <a14:foregroundMark x1="35125" y1="42750" x2="35125" y2="42750"/>
                        <a14:foregroundMark x1="35250" y1="45125" x2="33750" y2="54125"/>
                        <a14:foregroundMark x1="33750" y1="54125" x2="41375" y2="48750"/>
                        <a14:foregroundMark x1="41375" y1="48750" x2="36875" y2="40375"/>
                        <a14:foregroundMark x1="36875" y1="40375" x2="31375" y2="43625"/>
                        <a14:foregroundMark x1="22000" y1="41875" x2="12375" y2="50500"/>
                        <a14:foregroundMark x1="12375" y1="50500" x2="25625" y2="62375"/>
                        <a14:foregroundMark x1="25625" y1="62375" x2="52750" y2="64125"/>
                        <a14:foregroundMark x1="52750" y1="64125" x2="73500" y2="62500"/>
                        <a14:foregroundMark x1="73500" y1="62500" x2="87375" y2="56375"/>
                        <a14:foregroundMark x1="87375" y1="56375" x2="87125" y2="45625"/>
                        <a14:foregroundMark x1="87125" y1="45625" x2="84625" y2="37625"/>
                        <a14:foregroundMark x1="84625" y1="37625" x2="76500" y2="32125"/>
                        <a14:foregroundMark x1="76500" y1="32125" x2="57500" y2="27250"/>
                        <a14:foregroundMark x1="57500" y1="27250" x2="20250" y2="28750"/>
                        <a14:foregroundMark x1="20250" y1="28750" x2="15750" y2="38375"/>
                        <a14:foregroundMark x1="15750" y1="38375" x2="12250" y2="41125"/>
                        <a14:foregroundMark x1="28375" y1="36125" x2="17625" y2="48125"/>
                        <a14:foregroundMark x1="17625" y1="48125" x2="23875" y2="57625"/>
                        <a14:foregroundMark x1="23875" y1="57625" x2="34500" y2="44000"/>
                        <a14:foregroundMark x1="34500" y1="44000" x2="21250" y2="39375"/>
                        <a14:foregroundMark x1="21250" y1="39375" x2="19250" y2="41250"/>
                        <a14:foregroundMark x1="26250" y1="40250" x2="27375" y2="52750"/>
                        <a14:foregroundMark x1="27375" y1="52750" x2="28875" y2="40125"/>
                        <a14:foregroundMark x1="28875" y1="40125" x2="18750" y2="45500"/>
                        <a14:foregroundMark x1="18750" y1="45500" x2="20750" y2="48625"/>
                        <a14:foregroundMark x1="26875" y1="40625" x2="27375" y2="58250"/>
                        <a14:foregroundMark x1="27375" y1="58250" x2="30625" y2="48375"/>
                        <a14:foregroundMark x1="30625" y1="48375" x2="20375" y2="51125"/>
                        <a14:foregroundMark x1="20375" y1="51125" x2="20375" y2="52375"/>
                        <a14:foregroundMark x1="19125" y1="42500" x2="25500" y2="55125"/>
                        <a14:foregroundMark x1="25500" y1="55125" x2="25125" y2="59500"/>
                        <a14:foregroundMark x1="22250" y1="56750" x2="21750" y2="58125"/>
                        <a14:foregroundMark x1="38500" y1="39875" x2="29750" y2="53250"/>
                        <a14:foregroundMark x1="29750" y1="53250" x2="34875" y2="62125"/>
                        <a14:foregroundMark x1="34875" y1="62125" x2="39750" y2="49375"/>
                        <a14:foregroundMark x1="39750" y1="49375" x2="36125" y2="43000"/>
                        <a14:foregroundMark x1="43375" y1="42375" x2="41000" y2="60750"/>
                        <a14:foregroundMark x1="41000" y1="60750" x2="51625" y2="47750"/>
                        <a14:foregroundMark x1="51625" y1="47750" x2="43375" y2="46875"/>
                        <a14:foregroundMark x1="43375" y1="46875" x2="41375" y2="48000"/>
                        <a14:foregroundMark x1="47125" y1="50750" x2="48375" y2="59000"/>
                        <a14:foregroundMark x1="48375" y1="59000" x2="45125" y2="53500"/>
                        <a14:foregroundMark x1="53625" y1="43250" x2="52125" y2="50125"/>
                        <a14:foregroundMark x1="52125" y1="50125" x2="54125" y2="58375"/>
                        <a14:foregroundMark x1="54125" y1="58375" x2="58125" y2="50500"/>
                        <a14:foregroundMark x1="58125" y1="50500" x2="53250" y2="45125"/>
                        <a14:foregroundMark x1="53250" y1="45125" x2="51500" y2="45375"/>
                        <a14:foregroundMark x1="58625" y1="42000" x2="59750" y2="52125"/>
                        <a14:foregroundMark x1="59750" y1="52125" x2="57750" y2="45000"/>
                        <a14:foregroundMark x1="63000" y1="45375" x2="61000" y2="62375"/>
                        <a14:foregroundMark x1="61000" y1="62375" x2="73375" y2="56375"/>
                        <a14:foregroundMark x1="73375" y1="56375" x2="72000" y2="45625"/>
                        <a14:foregroundMark x1="72000" y1="45625" x2="64375" y2="43500"/>
                        <a14:foregroundMark x1="64375" y1="43500" x2="61750" y2="33375"/>
                        <a14:foregroundMark x1="61750" y1="33375" x2="72625" y2="31250"/>
                        <a14:foregroundMark x1="72625" y1="31250" x2="67750" y2="44000"/>
                        <a14:foregroundMark x1="67750" y1="44000" x2="73125" y2="38125"/>
                        <a14:foregroundMark x1="73125" y1="38125" x2="81750" y2="37125"/>
                        <a14:foregroundMark x1="81750" y1="37125" x2="77625" y2="50250"/>
                        <a14:foregroundMark x1="77625" y1="50250" x2="81750" y2="52375"/>
                        <a14:foregroundMark x1="68875" y1="31750" x2="67125" y2="43250"/>
                        <a14:foregroundMark x1="67125" y1="43250" x2="69125" y2="34625"/>
                        <a14:foregroundMark x1="78750" y1="32500" x2="75250" y2="44500"/>
                        <a14:foregroundMark x1="75250" y1="44500" x2="79875" y2="36750"/>
                        <a14:foregroundMark x1="79875" y1="36750" x2="76875" y2="36375"/>
                        <a14:foregroundMark x1="78750" y1="46625" x2="80125" y2="55500"/>
                        <a14:foregroundMark x1="80125" y1="55500" x2="80750" y2="46125"/>
                        <a14:foregroundMark x1="80750" y1="46125" x2="77750" y2="45875"/>
                        <a14:foregroundMark x1="90375" y1="44000" x2="88750" y2="56375"/>
                        <a14:foregroundMark x1="45750" y1="10250" x2="57875" y2="11500"/>
                        <a14:foregroundMark x1="54125" y1="8875" x2="53500" y2="9125"/>
                        <a14:foregroundMark x1="49500" y1="90500" x2="54125" y2="89500"/>
                        <a14:foregroundMark x1="9625" y1="49625" x2="11000" y2="47125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3256" t="7288" r="7881" b="3666"/>
          <a:stretch>
            <a:fillRect/>
          </a:stretch>
        </p:blipFill>
        <p:spPr bwMode="auto">
          <a:xfrm>
            <a:off x="11238614" y="5890437"/>
            <a:ext cx="733648" cy="7351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Imagem 3" descr="Logotipo&#10;&#10;O conteúdo gerado por IA pode estar incorreto.">
            <a:extLst>
              <a:ext uri="{FF2B5EF4-FFF2-40B4-BE49-F238E27FC236}">
                <a16:creationId xmlns:a16="http://schemas.microsoft.com/office/drawing/2014/main" id="{4D77C702-E01A-389A-35A3-49CBE1E8859C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9562" y="2439525"/>
            <a:ext cx="5434037" cy="1617816"/>
          </a:xfrm>
          <a:prstGeom prst="rect">
            <a:avLst/>
          </a:prstGeom>
        </p:spPr>
      </p:pic>
      <p:pic>
        <p:nvPicPr>
          <p:cNvPr id="5" name="Imagem 4" descr="Imagem em preto e branco de computador">
            <a:extLst>
              <a:ext uri="{FF2B5EF4-FFF2-40B4-BE49-F238E27FC236}">
                <a16:creationId xmlns:a16="http://schemas.microsoft.com/office/drawing/2014/main" id="{3BC937CD-54D6-C207-9F85-691B1D136EB6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0109" r="46517"/>
          <a:stretch/>
        </p:blipFill>
        <p:spPr>
          <a:xfrm>
            <a:off x="4305672" y="-97489"/>
            <a:ext cx="7964300" cy="6691843"/>
          </a:xfrm>
          <a:prstGeom prst="rect">
            <a:avLst/>
          </a:prstGeom>
          <a:ln>
            <a:noFill/>
          </a:ln>
          <a:effectLst>
            <a:outerShdw blurRad="50800" dist="88900" dir="8100000" algn="tr" rotWithShape="0">
              <a:prstClr val="black">
                <a:alpha val="25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280321792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1CB4CB3B-65A9-41A0-4732-0C43643EB0F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m 2" descr="Interface gráfica do usuário&#10;&#10;O conteúdo gerado por IA pode estar incorreto.">
            <a:extLst>
              <a:ext uri="{FF2B5EF4-FFF2-40B4-BE49-F238E27FC236}">
                <a16:creationId xmlns:a16="http://schemas.microsoft.com/office/drawing/2014/main" id="{06808FE2-74EF-0448-5195-1C8F75475C7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6447" y="248306"/>
            <a:ext cx="1371600" cy="561358"/>
          </a:xfrm>
          <a:prstGeom prst="rect">
            <a:avLst/>
          </a:prstGeom>
        </p:spPr>
      </p:pic>
      <p:pic>
        <p:nvPicPr>
          <p:cNvPr id="1026" name="Picture 2" descr="logo claro PNG &amp; clipart images | Citypng">
            <a:extLst>
              <a:ext uri="{FF2B5EF4-FFF2-40B4-BE49-F238E27FC236}">
                <a16:creationId xmlns:a16="http://schemas.microsoft.com/office/drawing/2014/main" id="{13ABF9B6-566C-535F-D3AD-9C0F0302231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ackgroundRemoval t="8875" b="90500" l="9625" r="90375">
                        <a14:foregroundMark x1="35125" y1="42750" x2="35125" y2="42750"/>
                        <a14:foregroundMark x1="35250" y1="45125" x2="33750" y2="54125"/>
                        <a14:foregroundMark x1="33750" y1="54125" x2="41375" y2="48750"/>
                        <a14:foregroundMark x1="41375" y1="48750" x2="36875" y2="40375"/>
                        <a14:foregroundMark x1="36875" y1="40375" x2="31375" y2="43625"/>
                        <a14:foregroundMark x1="22000" y1="41875" x2="12375" y2="50500"/>
                        <a14:foregroundMark x1="12375" y1="50500" x2="25625" y2="62375"/>
                        <a14:foregroundMark x1="25625" y1="62375" x2="52750" y2="64125"/>
                        <a14:foregroundMark x1="52750" y1="64125" x2="73500" y2="62500"/>
                        <a14:foregroundMark x1="73500" y1="62500" x2="87375" y2="56375"/>
                        <a14:foregroundMark x1="87375" y1="56375" x2="87125" y2="45625"/>
                        <a14:foregroundMark x1="87125" y1="45625" x2="84625" y2="37625"/>
                        <a14:foregroundMark x1="84625" y1="37625" x2="76500" y2="32125"/>
                        <a14:foregroundMark x1="76500" y1="32125" x2="57500" y2="27250"/>
                        <a14:foregroundMark x1="57500" y1="27250" x2="20250" y2="28750"/>
                        <a14:foregroundMark x1="20250" y1="28750" x2="15750" y2="38375"/>
                        <a14:foregroundMark x1="15750" y1="38375" x2="12250" y2="41125"/>
                        <a14:foregroundMark x1="28375" y1="36125" x2="17625" y2="48125"/>
                        <a14:foregroundMark x1="17625" y1="48125" x2="23875" y2="57625"/>
                        <a14:foregroundMark x1="23875" y1="57625" x2="34500" y2="44000"/>
                        <a14:foregroundMark x1="34500" y1="44000" x2="21250" y2="39375"/>
                        <a14:foregroundMark x1="21250" y1="39375" x2="19250" y2="41250"/>
                        <a14:foregroundMark x1="26250" y1="40250" x2="27375" y2="52750"/>
                        <a14:foregroundMark x1="27375" y1="52750" x2="28875" y2="40125"/>
                        <a14:foregroundMark x1="28875" y1="40125" x2="18750" y2="45500"/>
                        <a14:foregroundMark x1="18750" y1="45500" x2="20750" y2="48625"/>
                        <a14:foregroundMark x1="26875" y1="40625" x2="27375" y2="58250"/>
                        <a14:foregroundMark x1="27375" y1="58250" x2="30625" y2="48375"/>
                        <a14:foregroundMark x1="30625" y1="48375" x2="20375" y2="51125"/>
                        <a14:foregroundMark x1="20375" y1="51125" x2="20375" y2="52375"/>
                        <a14:foregroundMark x1="19125" y1="42500" x2="25500" y2="55125"/>
                        <a14:foregroundMark x1="25500" y1="55125" x2="25125" y2="59500"/>
                        <a14:foregroundMark x1="22250" y1="56750" x2="21750" y2="58125"/>
                        <a14:foregroundMark x1="38500" y1="39875" x2="29750" y2="53250"/>
                        <a14:foregroundMark x1="29750" y1="53250" x2="34875" y2="62125"/>
                        <a14:foregroundMark x1="34875" y1="62125" x2="39750" y2="49375"/>
                        <a14:foregroundMark x1="39750" y1="49375" x2="36125" y2="43000"/>
                        <a14:foregroundMark x1="43375" y1="42375" x2="41000" y2="60750"/>
                        <a14:foregroundMark x1="41000" y1="60750" x2="51625" y2="47750"/>
                        <a14:foregroundMark x1="51625" y1="47750" x2="43375" y2="46875"/>
                        <a14:foregroundMark x1="43375" y1="46875" x2="41375" y2="48000"/>
                        <a14:foregroundMark x1="47125" y1="50750" x2="48375" y2="59000"/>
                        <a14:foregroundMark x1="48375" y1="59000" x2="45125" y2="53500"/>
                        <a14:foregroundMark x1="53625" y1="43250" x2="52125" y2="50125"/>
                        <a14:foregroundMark x1="52125" y1="50125" x2="54125" y2="58375"/>
                        <a14:foregroundMark x1="54125" y1="58375" x2="58125" y2="50500"/>
                        <a14:foregroundMark x1="58125" y1="50500" x2="53250" y2="45125"/>
                        <a14:foregroundMark x1="53250" y1="45125" x2="51500" y2="45375"/>
                        <a14:foregroundMark x1="58625" y1="42000" x2="59750" y2="52125"/>
                        <a14:foregroundMark x1="59750" y1="52125" x2="57750" y2="45000"/>
                        <a14:foregroundMark x1="63000" y1="45375" x2="61000" y2="62375"/>
                        <a14:foregroundMark x1="61000" y1="62375" x2="73375" y2="56375"/>
                        <a14:foregroundMark x1="73375" y1="56375" x2="72000" y2="45625"/>
                        <a14:foregroundMark x1="72000" y1="45625" x2="64375" y2="43500"/>
                        <a14:foregroundMark x1="64375" y1="43500" x2="61750" y2="33375"/>
                        <a14:foregroundMark x1="61750" y1="33375" x2="72625" y2="31250"/>
                        <a14:foregroundMark x1="72625" y1="31250" x2="67750" y2="44000"/>
                        <a14:foregroundMark x1="67750" y1="44000" x2="73125" y2="38125"/>
                        <a14:foregroundMark x1="73125" y1="38125" x2="81750" y2="37125"/>
                        <a14:foregroundMark x1="81750" y1="37125" x2="77625" y2="50250"/>
                        <a14:foregroundMark x1="77625" y1="50250" x2="81750" y2="52375"/>
                        <a14:foregroundMark x1="68875" y1="31750" x2="67125" y2="43250"/>
                        <a14:foregroundMark x1="67125" y1="43250" x2="69125" y2="34625"/>
                        <a14:foregroundMark x1="78750" y1="32500" x2="75250" y2="44500"/>
                        <a14:foregroundMark x1="75250" y1="44500" x2="79875" y2="36750"/>
                        <a14:foregroundMark x1="79875" y1="36750" x2="76875" y2="36375"/>
                        <a14:foregroundMark x1="78750" y1="46625" x2="80125" y2="55500"/>
                        <a14:foregroundMark x1="80125" y1="55500" x2="80750" y2="46125"/>
                        <a14:foregroundMark x1="80750" y1="46125" x2="77750" y2="45875"/>
                        <a14:foregroundMark x1="90375" y1="44000" x2="88750" y2="56375"/>
                        <a14:foregroundMark x1="45750" y1="10250" x2="57875" y2="11500"/>
                        <a14:foregroundMark x1="54125" y1="8875" x2="53500" y2="9125"/>
                        <a14:foregroundMark x1="49500" y1="90500" x2="54125" y2="89500"/>
                        <a14:foregroundMark x1="9625" y1="49625" x2="11000" y2="47125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3256" t="7288" r="7881" b="3666"/>
          <a:stretch>
            <a:fillRect/>
          </a:stretch>
        </p:blipFill>
        <p:spPr bwMode="auto">
          <a:xfrm>
            <a:off x="11238614" y="5890437"/>
            <a:ext cx="733648" cy="7351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Imagem 1" descr="Imagem em preto e branco de computador">
            <a:extLst>
              <a:ext uri="{FF2B5EF4-FFF2-40B4-BE49-F238E27FC236}">
                <a16:creationId xmlns:a16="http://schemas.microsoft.com/office/drawing/2014/main" id="{7EAF61DB-F90E-B4BC-5F1A-DD844E0C5EF5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0109" r="46517"/>
          <a:stretch/>
        </p:blipFill>
        <p:spPr>
          <a:xfrm>
            <a:off x="10728248" y="21957"/>
            <a:ext cx="1371601" cy="1152460"/>
          </a:xfrm>
          <a:prstGeom prst="rect">
            <a:avLst/>
          </a:prstGeom>
          <a:ln>
            <a:noFill/>
          </a:ln>
          <a:effectLst>
            <a:outerShdw blurRad="50800" dist="88900" dir="8100000" algn="tr" rotWithShape="0">
              <a:prstClr val="black">
                <a:alpha val="25000"/>
              </a:prstClr>
            </a:outerShdw>
          </a:effectLst>
        </p:spPr>
      </p:pic>
      <p:pic>
        <p:nvPicPr>
          <p:cNvPr id="4" name="Imagem 3" descr="Logotipo&#10;&#10;O conteúdo gerado por IA pode estar incorreto.">
            <a:extLst>
              <a:ext uri="{FF2B5EF4-FFF2-40B4-BE49-F238E27FC236}">
                <a16:creationId xmlns:a16="http://schemas.microsoft.com/office/drawing/2014/main" id="{02BF954B-62FA-E576-8631-A67708C88BC2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76167" y="277459"/>
            <a:ext cx="2339162" cy="696413"/>
          </a:xfrm>
          <a:prstGeom prst="rect">
            <a:avLst/>
          </a:prstGeom>
        </p:spPr>
      </p:pic>
      <p:pic>
        <p:nvPicPr>
          <p:cNvPr id="7" name="Imagem 6" descr="Teclado de computador&#10;&#10;O conteúdo gerado por IA pode estar incorreto.">
            <a:extLst>
              <a:ext uri="{FF2B5EF4-FFF2-40B4-BE49-F238E27FC236}">
                <a16:creationId xmlns:a16="http://schemas.microsoft.com/office/drawing/2014/main" id="{7755200A-6627-DD15-C379-57E8C6ED6D05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31844" y="1634970"/>
            <a:ext cx="5669242" cy="3485697"/>
          </a:xfrm>
          <a:prstGeom prst="roundRect">
            <a:avLst>
              <a:gd name="adj" fmla="val 2474"/>
            </a:avLst>
          </a:prstGeom>
        </p:spPr>
      </p:pic>
      <p:sp>
        <p:nvSpPr>
          <p:cNvPr id="18" name="CaixaDeTexto 17">
            <a:extLst>
              <a:ext uri="{FF2B5EF4-FFF2-40B4-BE49-F238E27FC236}">
                <a16:creationId xmlns:a16="http://schemas.microsoft.com/office/drawing/2014/main" id="{B9A3F737-2C6E-8169-5F32-8E98B5ADF87C}"/>
              </a:ext>
            </a:extLst>
          </p:cNvPr>
          <p:cNvSpPr txBox="1"/>
          <p:nvPr/>
        </p:nvSpPr>
        <p:spPr>
          <a:xfrm>
            <a:off x="539812" y="2234307"/>
            <a:ext cx="5324960" cy="830997"/>
          </a:xfrm>
          <a:prstGeom prst="rect">
            <a:avLst/>
          </a:prstGeom>
          <a:noFill/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txBody>
          <a:bodyPr wrap="square" rtlCol="0">
            <a:spAutoFit/>
          </a:bodyPr>
          <a:lstStyle/>
          <a:p>
            <a:pPr marL="457200" indent="-457200">
              <a:buFont typeface="Wingdings" panose="05000000000000000000" pitchFamily="2" charset="2"/>
              <a:buChar char="§"/>
            </a:pPr>
            <a:r>
              <a:rPr lang="pt-BR" sz="2400" b="1" dirty="0">
                <a:solidFill>
                  <a:schemeClr val="bg1"/>
                </a:solidFill>
                <a:latin typeface="Product Sans" panose="020B0403030502040203" pitchFamily="34" charset="0"/>
              </a:rPr>
              <a:t>Equipado com processador </a:t>
            </a:r>
          </a:p>
          <a:p>
            <a:r>
              <a:rPr lang="pt-BR" sz="2400" b="1" dirty="0">
                <a:solidFill>
                  <a:schemeClr val="bg1"/>
                </a:solidFill>
                <a:latin typeface="Product Sans" panose="020B0403030502040203" pitchFamily="34" charset="0"/>
              </a:rPr>
              <a:t>Intel</a:t>
            </a:r>
            <a:r>
              <a:rPr lang="pt-BR" sz="2400" b="0" i="0" dirty="0">
                <a:solidFill>
                  <a:schemeClr val="bg1"/>
                </a:solidFill>
                <a:effectLst/>
                <a:latin typeface="Lato" panose="020F0502020204030203" pitchFamily="34" charset="0"/>
              </a:rPr>
              <a:t>®</a:t>
            </a:r>
            <a:r>
              <a:rPr lang="pt-BR" sz="2400" b="1" dirty="0">
                <a:solidFill>
                  <a:schemeClr val="bg1"/>
                </a:solidFill>
                <a:latin typeface="Product Sans" panose="020B0403030502040203" pitchFamily="34" charset="0"/>
              </a:rPr>
              <a:t> 13ª th Geração série H</a:t>
            </a:r>
          </a:p>
        </p:txBody>
      </p:sp>
      <p:sp>
        <p:nvSpPr>
          <p:cNvPr id="20" name="CaixaDeTexto 19">
            <a:extLst>
              <a:ext uri="{FF2B5EF4-FFF2-40B4-BE49-F238E27FC236}">
                <a16:creationId xmlns:a16="http://schemas.microsoft.com/office/drawing/2014/main" id="{0454A0D5-2115-7DD3-F7DB-2B1DE8640E04}"/>
              </a:ext>
            </a:extLst>
          </p:cNvPr>
          <p:cNvSpPr txBox="1"/>
          <p:nvPr/>
        </p:nvSpPr>
        <p:spPr>
          <a:xfrm>
            <a:off x="79368" y="1373360"/>
            <a:ext cx="437584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2800" b="1" dirty="0">
                <a:solidFill>
                  <a:schemeClr val="bg1"/>
                </a:solidFill>
                <a:effectLst>
                  <a:outerShdw blurRad="50800" dist="38100" dir="10800000" algn="r" rotWithShape="0">
                    <a:prstClr val="black">
                      <a:alpha val="40000"/>
                    </a:prstClr>
                  </a:outerShdw>
                </a:effectLst>
                <a:latin typeface="Candara" panose="020E0502030303020204" pitchFamily="34" charset="0"/>
              </a:rPr>
              <a:t>PROCESSADOR</a:t>
            </a:r>
          </a:p>
        </p:txBody>
      </p:sp>
      <p:pic>
        <p:nvPicPr>
          <p:cNvPr id="21" name="Gráfico 20">
            <a:extLst>
              <a:ext uri="{FF2B5EF4-FFF2-40B4-BE49-F238E27FC236}">
                <a16:creationId xmlns:a16="http://schemas.microsoft.com/office/drawing/2014/main" id="{A70894A6-8A27-8A0D-9559-A29BD93409E0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482463" y="1392865"/>
            <a:ext cx="465514" cy="465514"/>
          </a:xfrm>
          <a:prstGeom prst="rect">
            <a:avLst/>
          </a:prstGeom>
        </p:spPr>
      </p:pic>
      <p:pic>
        <p:nvPicPr>
          <p:cNvPr id="22" name="Imagem 21" descr="Logotipo&#10;&#10;O conteúdo gerado por IA pode estar incorreto.">
            <a:extLst>
              <a:ext uri="{FF2B5EF4-FFF2-40B4-BE49-F238E27FC236}">
                <a16:creationId xmlns:a16="http://schemas.microsoft.com/office/drawing/2014/main" id="{0FBE3661-AB50-B541-002F-62E89F926E90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200000">
            <a:off x="13039183" y="5409915"/>
            <a:ext cx="825049" cy="458706"/>
          </a:xfrm>
          <a:prstGeom prst="rect">
            <a:avLst/>
          </a:prstGeom>
        </p:spPr>
      </p:pic>
      <p:sp>
        <p:nvSpPr>
          <p:cNvPr id="34" name="CaixaDeTexto 33">
            <a:extLst>
              <a:ext uri="{FF2B5EF4-FFF2-40B4-BE49-F238E27FC236}">
                <a16:creationId xmlns:a16="http://schemas.microsoft.com/office/drawing/2014/main" id="{3BECB485-270A-4EDF-78A1-09AA928C53D8}"/>
              </a:ext>
            </a:extLst>
          </p:cNvPr>
          <p:cNvSpPr txBox="1"/>
          <p:nvPr/>
        </p:nvSpPr>
        <p:spPr>
          <a:xfrm>
            <a:off x="482463" y="3403032"/>
            <a:ext cx="5056421" cy="1384995"/>
          </a:xfrm>
          <a:prstGeom prst="rect">
            <a:avLst/>
          </a:prstGeom>
          <a:noFill/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txBody>
          <a:bodyPr wrap="square" rtlCol="0">
            <a:spAutoFit/>
          </a:bodyPr>
          <a:lstStyle/>
          <a:p>
            <a:pPr marL="457200" indent="-457200">
              <a:buFont typeface="Wingdings" panose="05000000000000000000" pitchFamily="2" charset="2"/>
              <a:buChar char="§"/>
            </a:pPr>
            <a:r>
              <a:rPr lang="pt-BR" sz="2800" b="1" dirty="0">
                <a:solidFill>
                  <a:schemeClr val="bg1"/>
                </a:solidFill>
                <a:latin typeface="Candara" panose="020E0502030303020204" pitchFamily="34" charset="0"/>
              </a:rPr>
              <a:t>Potência e desempenho, </a:t>
            </a:r>
          </a:p>
          <a:p>
            <a:r>
              <a:rPr lang="pt-BR" sz="2800" b="1" dirty="0">
                <a:solidFill>
                  <a:schemeClr val="bg1"/>
                </a:solidFill>
                <a:latin typeface="Candara" panose="020E0502030303020204" pitchFamily="34" charset="0"/>
              </a:rPr>
              <a:t>elevando seu fluxo de trabalho diário a novos patamares. </a:t>
            </a:r>
          </a:p>
        </p:txBody>
      </p:sp>
    </p:spTree>
    <p:extLst>
      <p:ext uri="{BB962C8B-B14F-4D97-AF65-F5344CB8AC3E}">
        <p14:creationId xmlns:p14="http://schemas.microsoft.com/office/powerpoint/2010/main" val="426940363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10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8" dur="10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8" grpId="0"/>
      <p:bldP spid="20" grpId="0"/>
      <p:bldP spid="34" grpId="0"/>
    </p:bld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7C0F6991-7AB2-E18A-BF0A-D2C897054A3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m 2" descr="Interface gráfica do usuário&#10;&#10;O conteúdo gerado por IA pode estar incorreto.">
            <a:extLst>
              <a:ext uri="{FF2B5EF4-FFF2-40B4-BE49-F238E27FC236}">
                <a16:creationId xmlns:a16="http://schemas.microsoft.com/office/drawing/2014/main" id="{95D92AEC-342C-1C07-DD09-1B4B324F592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6447" y="248306"/>
            <a:ext cx="1371600" cy="561358"/>
          </a:xfrm>
          <a:prstGeom prst="rect">
            <a:avLst/>
          </a:prstGeom>
        </p:spPr>
      </p:pic>
      <p:pic>
        <p:nvPicPr>
          <p:cNvPr id="1026" name="Picture 2" descr="logo claro PNG &amp; clipart images | Citypng">
            <a:extLst>
              <a:ext uri="{FF2B5EF4-FFF2-40B4-BE49-F238E27FC236}">
                <a16:creationId xmlns:a16="http://schemas.microsoft.com/office/drawing/2014/main" id="{0857C4F3-BCA1-9FEA-6203-F8A6A1017A8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ackgroundRemoval t="8875" b="90500" l="9625" r="90375">
                        <a14:foregroundMark x1="35125" y1="42750" x2="35125" y2="42750"/>
                        <a14:foregroundMark x1="35250" y1="45125" x2="33750" y2="54125"/>
                        <a14:foregroundMark x1="33750" y1="54125" x2="41375" y2="48750"/>
                        <a14:foregroundMark x1="41375" y1="48750" x2="36875" y2="40375"/>
                        <a14:foregroundMark x1="36875" y1="40375" x2="31375" y2="43625"/>
                        <a14:foregroundMark x1="22000" y1="41875" x2="12375" y2="50500"/>
                        <a14:foregroundMark x1="12375" y1="50500" x2="25625" y2="62375"/>
                        <a14:foregroundMark x1="25625" y1="62375" x2="52750" y2="64125"/>
                        <a14:foregroundMark x1="52750" y1="64125" x2="73500" y2="62500"/>
                        <a14:foregroundMark x1="73500" y1="62500" x2="87375" y2="56375"/>
                        <a14:foregroundMark x1="87375" y1="56375" x2="87125" y2="45625"/>
                        <a14:foregroundMark x1="87125" y1="45625" x2="84625" y2="37625"/>
                        <a14:foregroundMark x1="84625" y1="37625" x2="76500" y2="32125"/>
                        <a14:foregroundMark x1="76500" y1="32125" x2="57500" y2="27250"/>
                        <a14:foregroundMark x1="57500" y1="27250" x2="20250" y2="28750"/>
                        <a14:foregroundMark x1="20250" y1="28750" x2="15750" y2="38375"/>
                        <a14:foregroundMark x1="15750" y1="38375" x2="12250" y2="41125"/>
                        <a14:foregroundMark x1="28375" y1="36125" x2="17625" y2="48125"/>
                        <a14:foregroundMark x1="17625" y1="48125" x2="23875" y2="57625"/>
                        <a14:foregroundMark x1="23875" y1="57625" x2="34500" y2="44000"/>
                        <a14:foregroundMark x1="34500" y1="44000" x2="21250" y2="39375"/>
                        <a14:foregroundMark x1="21250" y1="39375" x2="19250" y2="41250"/>
                        <a14:foregroundMark x1="26250" y1="40250" x2="27375" y2="52750"/>
                        <a14:foregroundMark x1="27375" y1="52750" x2="28875" y2="40125"/>
                        <a14:foregroundMark x1="28875" y1="40125" x2="18750" y2="45500"/>
                        <a14:foregroundMark x1="18750" y1="45500" x2="20750" y2="48625"/>
                        <a14:foregroundMark x1="26875" y1="40625" x2="27375" y2="58250"/>
                        <a14:foregroundMark x1="27375" y1="58250" x2="30625" y2="48375"/>
                        <a14:foregroundMark x1="30625" y1="48375" x2="20375" y2="51125"/>
                        <a14:foregroundMark x1="20375" y1="51125" x2="20375" y2="52375"/>
                        <a14:foregroundMark x1="19125" y1="42500" x2="25500" y2="55125"/>
                        <a14:foregroundMark x1="25500" y1="55125" x2="25125" y2="59500"/>
                        <a14:foregroundMark x1="22250" y1="56750" x2="21750" y2="58125"/>
                        <a14:foregroundMark x1="38500" y1="39875" x2="29750" y2="53250"/>
                        <a14:foregroundMark x1="29750" y1="53250" x2="34875" y2="62125"/>
                        <a14:foregroundMark x1="34875" y1="62125" x2="39750" y2="49375"/>
                        <a14:foregroundMark x1="39750" y1="49375" x2="36125" y2="43000"/>
                        <a14:foregroundMark x1="43375" y1="42375" x2="41000" y2="60750"/>
                        <a14:foregroundMark x1="41000" y1="60750" x2="51625" y2="47750"/>
                        <a14:foregroundMark x1="51625" y1="47750" x2="43375" y2="46875"/>
                        <a14:foregroundMark x1="43375" y1="46875" x2="41375" y2="48000"/>
                        <a14:foregroundMark x1="47125" y1="50750" x2="48375" y2="59000"/>
                        <a14:foregroundMark x1="48375" y1="59000" x2="45125" y2="53500"/>
                        <a14:foregroundMark x1="53625" y1="43250" x2="52125" y2="50125"/>
                        <a14:foregroundMark x1="52125" y1="50125" x2="54125" y2="58375"/>
                        <a14:foregroundMark x1="54125" y1="58375" x2="58125" y2="50500"/>
                        <a14:foregroundMark x1="58125" y1="50500" x2="53250" y2="45125"/>
                        <a14:foregroundMark x1="53250" y1="45125" x2="51500" y2="45375"/>
                        <a14:foregroundMark x1="58625" y1="42000" x2="59750" y2="52125"/>
                        <a14:foregroundMark x1="59750" y1="52125" x2="57750" y2="45000"/>
                        <a14:foregroundMark x1="63000" y1="45375" x2="61000" y2="62375"/>
                        <a14:foregroundMark x1="61000" y1="62375" x2="73375" y2="56375"/>
                        <a14:foregroundMark x1="73375" y1="56375" x2="72000" y2="45625"/>
                        <a14:foregroundMark x1="72000" y1="45625" x2="64375" y2="43500"/>
                        <a14:foregroundMark x1="64375" y1="43500" x2="61750" y2="33375"/>
                        <a14:foregroundMark x1="61750" y1="33375" x2="72625" y2="31250"/>
                        <a14:foregroundMark x1="72625" y1="31250" x2="67750" y2="44000"/>
                        <a14:foregroundMark x1="67750" y1="44000" x2="73125" y2="38125"/>
                        <a14:foregroundMark x1="73125" y1="38125" x2="81750" y2="37125"/>
                        <a14:foregroundMark x1="81750" y1="37125" x2="77625" y2="50250"/>
                        <a14:foregroundMark x1="77625" y1="50250" x2="81750" y2="52375"/>
                        <a14:foregroundMark x1="68875" y1="31750" x2="67125" y2="43250"/>
                        <a14:foregroundMark x1="67125" y1="43250" x2="69125" y2="34625"/>
                        <a14:foregroundMark x1="78750" y1="32500" x2="75250" y2="44500"/>
                        <a14:foregroundMark x1="75250" y1="44500" x2="79875" y2="36750"/>
                        <a14:foregroundMark x1="79875" y1="36750" x2="76875" y2="36375"/>
                        <a14:foregroundMark x1="78750" y1="46625" x2="80125" y2="55500"/>
                        <a14:foregroundMark x1="80125" y1="55500" x2="80750" y2="46125"/>
                        <a14:foregroundMark x1="80750" y1="46125" x2="77750" y2="45875"/>
                        <a14:foregroundMark x1="90375" y1="44000" x2="88750" y2="56375"/>
                        <a14:foregroundMark x1="45750" y1="10250" x2="57875" y2="11500"/>
                        <a14:foregroundMark x1="54125" y1="8875" x2="53500" y2="9125"/>
                        <a14:foregroundMark x1="49500" y1="90500" x2="54125" y2="89500"/>
                        <a14:foregroundMark x1="9625" y1="49625" x2="11000" y2="47125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3256" t="7288" r="7881" b="3666"/>
          <a:stretch>
            <a:fillRect/>
          </a:stretch>
        </p:blipFill>
        <p:spPr bwMode="auto">
          <a:xfrm>
            <a:off x="11238614" y="5890437"/>
            <a:ext cx="733648" cy="7351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Imagem 1" descr="Imagem em preto e branco de computador">
            <a:extLst>
              <a:ext uri="{FF2B5EF4-FFF2-40B4-BE49-F238E27FC236}">
                <a16:creationId xmlns:a16="http://schemas.microsoft.com/office/drawing/2014/main" id="{D7FDABBB-DD8E-523F-1F35-97E78ED15457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0109" r="46517"/>
          <a:stretch/>
        </p:blipFill>
        <p:spPr>
          <a:xfrm>
            <a:off x="10468262" y="21956"/>
            <a:ext cx="1631588" cy="1370909"/>
          </a:xfrm>
          <a:prstGeom prst="rect">
            <a:avLst/>
          </a:prstGeom>
          <a:ln>
            <a:noFill/>
          </a:ln>
          <a:effectLst>
            <a:outerShdw blurRad="50800" dist="88900" dir="8100000" algn="tr" rotWithShape="0">
              <a:prstClr val="black">
                <a:alpha val="25000"/>
              </a:prstClr>
            </a:outerShdw>
          </a:effectLst>
        </p:spPr>
      </p:pic>
      <p:pic>
        <p:nvPicPr>
          <p:cNvPr id="4" name="Imagem 3" descr="Logotipo&#10;&#10;O conteúdo gerado por IA pode estar incorreto.">
            <a:extLst>
              <a:ext uri="{FF2B5EF4-FFF2-40B4-BE49-F238E27FC236}">
                <a16:creationId xmlns:a16="http://schemas.microsoft.com/office/drawing/2014/main" id="{AEDDB981-2BB1-E762-8632-B908C5ADC991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74148" y="359203"/>
            <a:ext cx="2339162" cy="696413"/>
          </a:xfrm>
          <a:prstGeom prst="rect">
            <a:avLst/>
          </a:prstGeom>
        </p:spPr>
      </p:pic>
      <p:sp>
        <p:nvSpPr>
          <p:cNvPr id="9" name="CaixaDeTexto 8">
            <a:extLst>
              <a:ext uri="{FF2B5EF4-FFF2-40B4-BE49-F238E27FC236}">
                <a16:creationId xmlns:a16="http://schemas.microsoft.com/office/drawing/2014/main" id="{4688E41B-7540-38D9-8A21-C5A5EFE406D0}"/>
              </a:ext>
            </a:extLst>
          </p:cNvPr>
          <p:cNvSpPr txBox="1"/>
          <p:nvPr/>
        </p:nvSpPr>
        <p:spPr>
          <a:xfrm>
            <a:off x="4712903" y="1480710"/>
            <a:ext cx="7745386" cy="707886"/>
          </a:xfrm>
          <a:prstGeom prst="rect">
            <a:avLst/>
          </a:prstGeom>
          <a:noFill/>
          <a:effectLst/>
        </p:spPr>
        <p:txBody>
          <a:bodyPr wrap="square" rtlCol="0">
            <a:spAutoFit/>
          </a:bodyPr>
          <a:lstStyle/>
          <a:p>
            <a:pPr algn="ctr"/>
            <a:r>
              <a:rPr lang="pt-BR" sz="4000" b="1" dirty="0">
                <a:solidFill>
                  <a:schemeClr val="bg2"/>
                </a:solidFill>
                <a:latin typeface="Candara" panose="020E0502030303020204" pitchFamily="34" charset="0"/>
              </a:rPr>
              <a:t>Tela IPS 15,3” Full HD+</a:t>
            </a:r>
          </a:p>
        </p:txBody>
      </p:sp>
      <p:pic>
        <p:nvPicPr>
          <p:cNvPr id="23" name="Imagem 22" descr="Imagem em preto e branco de computador">
            <a:extLst>
              <a:ext uri="{FF2B5EF4-FFF2-40B4-BE49-F238E27FC236}">
                <a16:creationId xmlns:a16="http://schemas.microsoft.com/office/drawing/2014/main" id="{1216F0C4-B5AC-F153-62D4-FAAD69C8C8B9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0109" r="46517"/>
          <a:stretch/>
        </p:blipFill>
        <p:spPr>
          <a:xfrm>
            <a:off x="92150" y="1250903"/>
            <a:ext cx="5691073" cy="4781810"/>
          </a:xfrm>
          <a:prstGeom prst="rect">
            <a:avLst/>
          </a:prstGeom>
        </p:spPr>
      </p:pic>
      <p:sp>
        <p:nvSpPr>
          <p:cNvPr id="24" name="CaixaDeTexto 23">
            <a:extLst>
              <a:ext uri="{FF2B5EF4-FFF2-40B4-BE49-F238E27FC236}">
                <a16:creationId xmlns:a16="http://schemas.microsoft.com/office/drawing/2014/main" id="{23139B7C-AAC5-E6C0-FEBA-4B26CD1132E1}"/>
              </a:ext>
            </a:extLst>
          </p:cNvPr>
          <p:cNvSpPr txBox="1"/>
          <p:nvPr/>
        </p:nvSpPr>
        <p:spPr>
          <a:xfrm>
            <a:off x="5852852" y="2525845"/>
            <a:ext cx="5242592" cy="2677656"/>
          </a:xfrm>
          <a:prstGeom prst="rect">
            <a:avLst/>
          </a:prstGeom>
          <a:noFill/>
          <a:effectLst/>
        </p:spPr>
        <p:txBody>
          <a:bodyPr wrap="square" rtlCol="0">
            <a:spAutoFit/>
          </a:bodyPr>
          <a:lstStyle/>
          <a:p>
            <a:r>
              <a:rPr lang="pt-BR" sz="2800" dirty="0">
                <a:solidFill>
                  <a:schemeClr val="bg2"/>
                </a:solidFill>
                <a:latin typeface="Candara" panose="020E0502030303020204" pitchFamily="34" charset="0"/>
              </a:rPr>
              <a:t>As telas IPS oferecem diversos benefícios, </a:t>
            </a:r>
          </a:p>
          <a:p>
            <a:r>
              <a:rPr lang="pt-BR" sz="2800" dirty="0">
                <a:solidFill>
                  <a:schemeClr val="bg2"/>
                </a:solidFill>
                <a:latin typeface="Candara" panose="020E0502030303020204" pitchFamily="34" charset="0"/>
              </a:rPr>
              <a:t>incluindo ângulos de visão amplos, cores vivas e precisas, além de melhor reprodução de tons.</a:t>
            </a:r>
          </a:p>
        </p:txBody>
      </p:sp>
    </p:spTree>
    <p:extLst>
      <p:ext uri="{BB962C8B-B14F-4D97-AF65-F5344CB8AC3E}">
        <p14:creationId xmlns:p14="http://schemas.microsoft.com/office/powerpoint/2010/main" val="967546735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25FD363C-73C2-D4FF-54B6-A231109B210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m 2" descr="Interface gráfica do usuário&#10;&#10;O conteúdo gerado por IA pode estar incorreto.">
            <a:extLst>
              <a:ext uri="{FF2B5EF4-FFF2-40B4-BE49-F238E27FC236}">
                <a16:creationId xmlns:a16="http://schemas.microsoft.com/office/drawing/2014/main" id="{FFBB8B45-AD7D-140D-284E-23ABF159BF0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6447" y="248306"/>
            <a:ext cx="1371600" cy="561358"/>
          </a:xfrm>
          <a:prstGeom prst="rect">
            <a:avLst/>
          </a:prstGeom>
        </p:spPr>
      </p:pic>
      <p:pic>
        <p:nvPicPr>
          <p:cNvPr id="1026" name="Picture 2" descr="logo claro PNG &amp; clipart images | Citypng">
            <a:extLst>
              <a:ext uri="{FF2B5EF4-FFF2-40B4-BE49-F238E27FC236}">
                <a16:creationId xmlns:a16="http://schemas.microsoft.com/office/drawing/2014/main" id="{F38D40EA-059A-3654-9E31-10570742269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ackgroundRemoval t="8875" b="90500" l="9625" r="90375">
                        <a14:foregroundMark x1="35125" y1="42750" x2="35125" y2="42750"/>
                        <a14:foregroundMark x1="35250" y1="45125" x2="33750" y2="54125"/>
                        <a14:foregroundMark x1="33750" y1="54125" x2="41375" y2="48750"/>
                        <a14:foregroundMark x1="41375" y1="48750" x2="36875" y2="40375"/>
                        <a14:foregroundMark x1="36875" y1="40375" x2="31375" y2="43625"/>
                        <a14:foregroundMark x1="22000" y1="41875" x2="12375" y2="50500"/>
                        <a14:foregroundMark x1="12375" y1="50500" x2="25625" y2="62375"/>
                        <a14:foregroundMark x1="25625" y1="62375" x2="52750" y2="64125"/>
                        <a14:foregroundMark x1="52750" y1="64125" x2="73500" y2="62500"/>
                        <a14:foregroundMark x1="73500" y1="62500" x2="87375" y2="56375"/>
                        <a14:foregroundMark x1="87375" y1="56375" x2="87125" y2="45625"/>
                        <a14:foregroundMark x1="87125" y1="45625" x2="84625" y2="37625"/>
                        <a14:foregroundMark x1="84625" y1="37625" x2="76500" y2="32125"/>
                        <a14:foregroundMark x1="76500" y1="32125" x2="57500" y2="27250"/>
                        <a14:foregroundMark x1="57500" y1="27250" x2="20250" y2="28750"/>
                        <a14:foregroundMark x1="20250" y1="28750" x2="15750" y2="38375"/>
                        <a14:foregroundMark x1="15750" y1="38375" x2="12250" y2="41125"/>
                        <a14:foregroundMark x1="28375" y1="36125" x2="17625" y2="48125"/>
                        <a14:foregroundMark x1="17625" y1="48125" x2="23875" y2="57625"/>
                        <a14:foregroundMark x1="23875" y1="57625" x2="34500" y2="44000"/>
                        <a14:foregroundMark x1="34500" y1="44000" x2="21250" y2="39375"/>
                        <a14:foregroundMark x1="21250" y1="39375" x2="19250" y2="41250"/>
                        <a14:foregroundMark x1="26250" y1="40250" x2="27375" y2="52750"/>
                        <a14:foregroundMark x1="27375" y1="52750" x2="28875" y2="40125"/>
                        <a14:foregroundMark x1="28875" y1="40125" x2="18750" y2="45500"/>
                        <a14:foregroundMark x1="18750" y1="45500" x2="20750" y2="48625"/>
                        <a14:foregroundMark x1="26875" y1="40625" x2="27375" y2="58250"/>
                        <a14:foregroundMark x1="27375" y1="58250" x2="30625" y2="48375"/>
                        <a14:foregroundMark x1="30625" y1="48375" x2="20375" y2="51125"/>
                        <a14:foregroundMark x1="20375" y1="51125" x2="20375" y2="52375"/>
                        <a14:foregroundMark x1="19125" y1="42500" x2="25500" y2="55125"/>
                        <a14:foregroundMark x1="25500" y1="55125" x2="25125" y2="59500"/>
                        <a14:foregroundMark x1="22250" y1="56750" x2="21750" y2="58125"/>
                        <a14:foregroundMark x1="38500" y1="39875" x2="29750" y2="53250"/>
                        <a14:foregroundMark x1="29750" y1="53250" x2="34875" y2="62125"/>
                        <a14:foregroundMark x1="34875" y1="62125" x2="39750" y2="49375"/>
                        <a14:foregroundMark x1="39750" y1="49375" x2="36125" y2="43000"/>
                        <a14:foregroundMark x1="43375" y1="42375" x2="41000" y2="60750"/>
                        <a14:foregroundMark x1="41000" y1="60750" x2="51625" y2="47750"/>
                        <a14:foregroundMark x1="51625" y1="47750" x2="43375" y2="46875"/>
                        <a14:foregroundMark x1="43375" y1="46875" x2="41375" y2="48000"/>
                        <a14:foregroundMark x1="47125" y1="50750" x2="48375" y2="59000"/>
                        <a14:foregroundMark x1="48375" y1="59000" x2="45125" y2="53500"/>
                        <a14:foregroundMark x1="53625" y1="43250" x2="52125" y2="50125"/>
                        <a14:foregroundMark x1="52125" y1="50125" x2="54125" y2="58375"/>
                        <a14:foregroundMark x1="54125" y1="58375" x2="58125" y2="50500"/>
                        <a14:foregroundMark x1="58125" y1="50500" x2="53250" y2="45125"/>
                        <a14:foregroundMark x1="53250" y1="45125" x2="51500" y2="45375"/>
                        <a14:foregroundMark x1="58625" y1="42000" x2="59750" y2="52125"/>
                        <a14:foregroundMark x1="59750" y1="52125" x2="57750" y2="45000"/>
                        <a14:foregroundMark x1="63000" y1="45375" x2="61000" y2="62375"/>
                        <a14:foregroundMark x1="61000" y1="62375" x2="73375" y2="56375"/>
                        <a14:foregroundMark x1="73375" y1="56375" x2="72000" y2="45625"/>
                        <a14:foregroundMark x1="72000" y1="45625" x2="64375" y2="43500"/>
                        <a14:foregroundMark x1="64375" y1="43500" x2="61750" y2="33375"/>
                        <a14:foregroundMark x1="61750" y1="33375" x2="72625" y2="31250"/>
                        <a14:foregroundMark x1="72625" y1="31250" x2="67750" y2="44000"/>
                        <a14:foregroundMark x1="67750" y1="44000" x2="73125" y2="38125"/>
                        <a14:foregroundMark x1="73125" y1="38125" x2="81750" y2="37125"/>
                        <a14:foregroundMark x1="81750" y1="37125" x2="77625" y2="50250"/>
                        <a14:foregroundMark x1="77625" y1="50250" x2="81750" y2="52375"/>
                        <a14:foregroundMark x1="68875" y1="31750" x2="67125" y2="43250"/>
                        <a14:foregroundMark x1="67125" y1="43250" x2="69125" y2="34625"/>
                        <a14:foregroundMark x1="78750" y1="32500" x2="75250" y2="44500"/>
                        <a14:foregroundMark x1="75250" y1="44500" x2="79875" y2="36750"/>
                        <a14:foregroundMark x1="79875" y1="36750" x2="76875" y2="36375"/>
                        <a14:foregroundMark x1="78750" y1="46625" x2="80125" y2="55500"/>
                        <a14:foregroundMark x1="80125" y1="55500" x2="80750" y2="46125"/>
                        <a14:foregroundMark x1="80750" y1="46125" x2="77750" y2="45875"/>
                        <a14:foregroundMark x1="90375" y1="44000" x2="88750" y2="56375"/>
                        <a14:foregroundMark x1="45750" y1="10250" x2="57875" y2="11500"/>
                        <a14:foregroundMark x1="54125" y1="8875" x2="53500" y2="9125"/>
                        <a14:foregroundMark x1="49500" y1="90500" x2="54125" y2="89500"/>
                        <a14:foregroundMark x1="9625" y1="49625" x2="11000" y2="47125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3256" t="7288" r="7881" b="3666"/>
          <a:stretch>
            <a:fillRect/>
          </a:stretch>
        </p:blipFill>
        <p:spPr bwMode="auto">
          <a:xfrm>
            <a:off x="11238614" y="5890437"/>
            <a:ext cx="733648" cy="7351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Imagem 1" descr="Imagem em preto e branco de computador">
            <a:extLst>
              <a:ext uri="{FF2B5EF4-FFF2-40B4-BE49-F238E27FC236}">
                <a16:creationId xmlns:a16="http://schemas.microsoft.com/office/drawing/2014/main" id="{552ACD4C-6BAA-E2B4-24E7-A9F89C639A59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0109" r="46517"/>
          <a:stretch/>
        </p:blipFill>
        <p:spPr>
          <a:xfrm>
            <a:off x="10468262" y="21956"/>
            <a:ext cx="1631588" cy="1370909"/>
          </a:xfrm>
          <a:prstGeom prst="rect">
            <a:avLst/>
          </a:prstGeom>
          <a:ln>
            <a:noFill/>
          </a:ln>
          <a:effectLst>
            <a:outerShdw blurRad="50800" dist="88900" dir="8100000" algn="tr" rotWithShape="0">
              <a:prstClr val="black">
                <a:alpha val="25000"/>
              </a:prstClr>
            </a:outerShdw>
          </a:effectLst>
        </p:spPr>
      </p:pic>
      <p:pic>
        <p:nvPicPr>
          <p:cNvPr id="4" name="Imagem 3" descr="Logotipo&#10;&#10;O conteúdo gerado por IA pode estar incorreto.">
            <a:extLst>
              <a:ext uri="{FF2B5EF4-FFF2-40B4-BE49-F238E27FC236}">
                <a16:creationId xmlns:a16="http://schemas.microsoft.com/office/drawing/2014/main" id="{E840E1E6-A149-6E51-BEBF-55C25DFFF361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74148" y="359203"/>
            <a:ext cx="2339162" cy="696413"/>
          </a:xfrm>
          <a:prstGeom prst="rect">
            <a:avLst/>
          </a:prstGeom>
        </p:spPr>
      </p:pic>
      <p:sp>
        <p:nvSpPr>
          <p:cNvPr id="5" name="CaixaDeTexto 4">
            <a:extLst>
              <a:ext uri="{FF2B5EF4-FFF2-40B4-BE49-F238E27FC236}">
                <a16:creationId xmlns:a16="http://schemas.microsoft.com/office/drawing/2014/main" id="{BB7F9CC8-F249-8FC3-BBB7-E742FDF9AF33}"/>
              </a:ext>
            </a:extLst>
          </p:cNvPr>
          <p:cNvSpPr txBox="1"/>
          <p:nvPr/>
        </p:nvSpPr>
        <p:spPr>
          <a:xfrm>
            <a:off x="4404445" y="1562676"/>
            <a:ext cx="7745386" cy="707886"/>
          </a:xfrm>
          <a:prstGeom prst="rect">
            <a:avLst/>
          </a:prstGeom>
          <a:noFill/>
          <a:effectLst/>
        </p:spPr>
        <p:txBody>
          <a:bodyPr wrap="square" rtlCol="0">
            <a:spAutoFit/>
          </a:bodyPr>
          <a:lstStyle/>
          <a:p>
            <a:pPr algn="ctr"/>
            <a:r>
              <a:rPr lang="pt-BR" sz="4000" b="1" dirty="0">
                <a:solidFill>
                  <a:schemeClr val="bg2"/>
                </a:solidFill>
                <a:latin typeface="Candara" panose="020E0502030303020204" pitchFamily="34" charset="0"/>
              </a:rPr>
              <a:t>Mais tela, menos borda!</a:t>
            </a:r>
          </a:p>
        </p:txBody>
      </p:sp>
      <p:sp>
        <p:nvSpPr>
          <p:cNvPr id="7" name="CaixaDeTexto 6">
            <a:extLst>
              <a:ext uri="{FF2B5EF4-FFF2-40B4-BE49-F238E27FC236}">
                <a16:creationId xmlns:a16="http://schemas.microsoft.com/office/drawing/2014/main" id="{BF965A43-0301-769E-2F03-69D37D049CF1}"/>
              </a:ext>
            </a:extLst>
          </p:cNvPr>
          <p:cNvSpPr txBox="1"/>
          <p:nvPr/>
        </p:nvSpPr>
        <p:spPr>
          <a:xfrm>
            <a:off x="5932872" y="2487671"/>
            <a:ext cx="5082551" cy="2677656"/>
          </a:xfrm>
          <a:prstGeom prst="rect">
            <a:avLst/>
          </a:prstGeom>
          <a:noFill/>
          <a:effectLst/>
        </p:spPr>
        <p:txBody>
          <a:bodyPr wrap="square" rtlCol="0">
            <a:spAutoFit/>
          </a:bodyPr>
          <a:lstStyle/>
          <a:p>
            <a:r>
              <a:rPr lang="pt-BR" sz="2800" dirty="0">
                <a:solidFill>
                  <a:schemeClr val="bg2"/>
                </a:solidFill>
                <a:latin typeface="Candara" panose="020E0502030303020204" pitchFamily="34" charset="0"/>
              </a:rPr>
              <a:t>Ideapad Slim 3i conta com tela  antirreflexo de bordas ultra finas, aproveitamento de 90% </a:t>
            </a:r>
          </a:p>
          <a:p>
            <a:endParaRPr lang="pt-BR" sz="2800" dirty="0">
              <a:solidFill>
                <a:schemeClr val="bg2"/>
              </a:solidFill>
              <a:latin typeface="Candara" panose="020E0502030303020204" pitchFamily="34" charset="0"/>
            </a:endParaRPr>
          </a:p>
          <a:p>
            <a:r>
              <a:rPr lang="pt-BR" sz="2800" dirty="0">
                <a:solidFill>
                  <a:schemeClr val="bg2"/>
                </a:solidFill>
                <a:latin typeface="Candara" panose="020E0502030303020204" pitchFamily="34" charset="0"/>
              </a:rPr>
              <a:t>Proporção de tela 16:10</a:t>
            </a:r>
          </a:p>
          <a:p>
            <a:r>
              <a:rPr lang="pt-BR" sz="2800" dirty="0">
                <a:solidFill>
                  <a:schemeClr val="bg2"/>
                </a:solidFill>
                <a:latin typeface="Candara" panose="020E0502030303020204" pitchFamily="34" charset="0"/>
              </a:rPr>
              <a:t>Resolução 1920x1200</a:t>
            </a:r>
          </a:p>
        </p:txBody>
      </p:sp>
      <p:pic>
        <p:nvPicPr>
          <p:cNvPr id="8" name="Imagem 7" descr="Computador ligado sobre uma mesa&#10;&#10;O conteúdo gerado por IA pode estar incorreto.">
            <a:extLst>
              <a:ext uri="{FF2B5EF4-FFF2-40B4-BE49-F238E27FC236}">
                <a16:creationId xmlns:a16="http://schemas.microsoft.com/office/drawing/2014/main" id="{ABF8B9A0-7273-3E59-A851-289692CD0D97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t="1" r="4845" b="8150"/>
          <a:stretch/>
        </p:blipFill>
        <p:spPr>
          <a:xfrm>
            <a:off x="-169799" y="1179047"/>
            <a:ext cx="5485461" cy="5294905"/>
          </a:xfrm>
          <a:prstGeom prst="rect">
            <a:avLst/>
          </a:prstGeom>
        </p:spPr>
      </p:pic>
      <p:pic>
        <p:nvPicPr>
          <p:cNvPr id="10" name="Reflexo 1" descr="Resultado de imagem para escritÃ³rio">
            <a:extLst>
              <a:ext uri="{FF2B5EF4-FFF2-40B4-BE49-F238E27FC236}">
                <a16:creationId xmlns:a16="http://schemas.microsoft.com/office/drawing/2014/main" id="{72E8ED89-8408-183F-51CC-4FEA2823D4FA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9" cstate="print">
            <a:alphaModFix amt="44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93" r="49320"/>
          <a:stretch/>
        </p:blipFill>
        <p:spPr bwMode="auto">
          <a:xfrm>
            <a:off x="933414" y="2166424"/>
            <a:ext cx="1832834" cy="2215661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1" name="Conector reto 10">
            <a:extLst>
              <a:ext uri="{FF2B5EF4-FFF2-40B4-BE49-F238E27FC236}">
                <a16:creationId xmlns:a16="http://schemas.microsoft.com/office/drawing/2014/main" id="{67D3D9D5-D3F0-81E6-A1F3-2A4D2243DAB8}"/>
              </a:ext>
            </a:extLst>
          </p:cNvPr>
          <p:cNvCxnSpPr>
            <a:cxnSpLocks/>
          </p:cNvCxnSpPr>
          <p:nvPr/>
        </p:nvCxnSpPr>
        <p:spPr>
          <a:xfrm>
            <a:off x="2735593" y="2166424"/>
            <a:ext cx="0" cy="2215661"/>
          </a:xfrm>
          <a:prstGeom prst="line">
            <a:avLst/>
          </a:prstGeom>
          <a:ln w="38100">
            <a:solidFill>
              <a:srgbClr val="FF0000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12" name="CaixaDeTexto 11">
            <a:extLst>
              <a:ext uri="{FF2B5EF4-FFF2-40B4-BE49-F238E27FC236}">
                <a16:creationId xmlns:a16="http://schemas.microsoft.com/office/drawing/2014/main" id="{BFF103A8-7094-A0B4-85CF-E61A70E11388}"/>
              </a:ext>
            </a:extLst>
          </p:cNvPr>
          <p:cNvSpPr txBox="1"/>
          <p:nvPr/>
        </p:nvSpPr>
        <p:spPr>
          <a:xfrm>
            <a:off x="2516468" y="1621456"/>
            <a:ext cx="2486662" cy="400110"/>
          </a:xfrm>
          <a:prstGeom prst="rect">
            <a:avLst/>
          </a:prstGeom>
          <a:noFill/>
          <a:effectLst/>
        </p:spPr>
        <p:txBody>
          <a:bodyPr wrap="square" rtlCol="0">
            <a:spAutoFit/>
          </a:bodyPr>
          <a:lstStyle/>
          <a:p>
            <a:pPr algn="ctr"/>
            <a:r>
              <a:rPr lang="pt-BR" sz="2000" b="1" dirty="0">
                <a:solidFill>
                  <a:schemeClr val="bg2"/>
                </a:solidFill>
                <a:latin typeface="Candara" panose="020E0502030303020204" pitchFamily="34" charset="0"/>
              </a:rPr>
              <a:t>Com </a:t>
            </a:r>
            <a:r>
              <a:rPr lang="pt-BR" b="1" dirty="0">
                <a:solidFill>
                  <a:schemeClr val="bg2"/>
                </a:solidFill>
                <a:latin typeface="Candara" panose="020E0502030303020204" pitchFamily="34" charset="0"/>
              </a:rPr>
              <a:t>antirreflexo</a:t>
            </a:r>
            <a:endParaRPr lang="pt-BR" sz="2000" b="1" dirty="0">
              <a:solidFill>
                <a:schemeClr val="bg2"/>
              </a:solidFill>
              <a:latin typeface="Candara" panose="020E0502030303020204" pitchFamily="34" charset="0"/>
            </a:endParaRPr>
          </a:p>
        </p:txBody>
      </p:sp>
      <p:sp>
        <p:nvSpPr>
          <p:cNvPr id="13" name="CaixaDeTexto 12">
            <a:extLst>
              <a:ext uri="{FF2B5EF4-FFF2-40B4-BE49-F238E27FC236}">
                <a16:creationId xmlns:a16="http://schemas.microsoft.com/office/drawing/2014/main" id="{FE17A183-DD06-A447-52E5-9E0B083F6826}"/>
              </a:ext>
            </a:extLst>
          </p:cNvPr>
          <p:cNvSpPr txBox="1"/>
          <p:nvPr/>
        </p:nvSpPr>
        <p:spPr>
          <a:xfrm>
            <a:off x="456954" y="1612495"/>
            <a:ext cx="2486662" cy="400110"/>
          </a:xfrm>
          <a:prstGeom prst="rect">
            <a:avLst/>
          </a:prstGeom>
          <a:noFill/>
          <a:effectLst/>
        </p:spPr>
        <p:txBody>
          <a:bodyPr wrap="square" rtlCol="0">
            <a:spAutoFit/>
          </a:bodyPr>
          <a:lstStyle/>
          <a:p>
            <a:pPr algn="ctr"/>
            <a:r>
              <a:rPr lang="pt-BR" sz="2000" b="1" dirty="0">
                <a:solidFill>
                  <a:schemeClr val="bg2"/>
                </a:solidFill>
                <a:latin typeface="Candara" panose="020E0502030303020204" pitchFamily="34" charset="0"/>
              </a:rPr>
              <a:t>Sem </a:t>
            </a:r>
            <a:r>
              <a:rPr lang="pt-BR" b="1" dirty="0">
                <a:solidFill>
                  <a:schemeClr val="bg2"/>
                </a:solidFill>
                <a:latin typeface="Candara" panose="020E0502030303020204" pitchFamily="34" charset="0"/>
              </a:rPr>
              <a:t>antirreflexo</a:t>
            </a:r>
            <a:endParaRPr lang="pt-BR" sz="2000" b="1" dirty="0">
              <a:solidFill>
                <a:schemeClr val="bg2"/>
              </a:solidFill>
              <a:latin typeface="Candara" panose="020E0502030303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92899473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32C27E27-7906-6FBD-700F-B6E662E6490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m 2" descr="Interface gráfica do usuário&#10;&#10;O conteúdo gerado por IA pode estar incorreto.">
            <a:extLst>
              <a:ext uri="{FF2B5EF4-FFF2-40B4-BE49-F238E27FC236}">
                <a16:creationId xmlns:a16="http://schemas.microsoft.com/office/drawing/2014/main" id="{1ED8C743-33FB-36DD-37B2-0742FC5617B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6447" y="248306"/>
            <a:ext cx="1371600" cy="561358"/>
          </a:xfrm>
          <a:prstGeom prst="rect">
            <a:avLst/>
          </a:prstGeom>
        </p:spPr>
      </p:pic>
      <p:pic>
        <p:nvPicPr>
          <p:cNvPr id="1026" name="Picture 2" descr="logo claro PNG &amp; clipart images | Citypng">
            <a:extLst>
              <a:ext uri="{FF2B5EF4-FFF2-40B4-BE49-F238E27FC236}">
                <a16:creationId xmlns:a16="http://schemas.microsoft.com/office/drawing/2014/main" id="{255DB013-78D9-C189-6C4A-47E8075896E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ackgroundRemoval t="8875" b="90500" l="9625" r="90375">
                        <a14:foregroundMark x1="35125" y1="42750" x2="35125" y2="42750"/>
                        <a14:foregroundMark x1="35250" y1="45125" x2="33750" y2="54125"/>
                        <a14:foregroundMark x1="33750" y1="54125" x2="41375" y2="48750"/>
                        <a14:foregroundMark x1="41375" y1="48750" x2="36875" y2="40375"/>
                        <a14:foregroundMark x1="36875" y1="40375" x2="31375" y2="43625"/>
                        <a14:foregroundMark x1="22000" y1="41875" x2="12375" y2="50500"/>
                        <a14:foregroundMark x1="12375" y1="50500" x2="25625" y2="62375"/>
                        <a14:foregroundMark x1="25625" y1="62375" x2="52750" y2="64125"/>
                        <a14:foregroundMark x1="52750" y1="64125" x2="73500" y2="62500"/>
                        <a14:foregroundMark x1="73500" y1="62500" x2="87375" y2="56375"/>
                        <a14:foregroundMark x1="87375" y1="56375" x2="87125" y2="45625"/>
                        <a14:foregroundMark x1="87125" y1="45625" x2="84625" y2="37625"/>
                        <a14:foregroundMark x1="84625" y1="37625" x2="76500" y2="32125"/>
                        <a14:foregroundMark x1="76500" y1="32125" x2="57500" y2="27250"/>
                        <a14:foregroundMark x1="57500" y1="27250" x2="20250" y2="28750"/>
                        <a14:foregroundMark x1="20250" y1="28750" x2="15750" y2="38375"/>
                        <a14:foregroundMark x1="15750" y1="38375" x2="12250" y2="41125"/>
                        <a14:foregroundMark x1="28375" y1="36125" x2="17625" y2="48125"/>
                        <a14:foregroundMark x1="17625" y1="48125" x2="23875" y2="57625"/>
                        <a14:foregroundMark x1="23875" y1="57625" x2="34500" y2="44000"/>
                        <a14:foregroundMark x1="34500" y1="44000" x2="21250" y2="39375"/>
                        <a14:foregroundMark x1="21250" y1="39375" x2="19250" y2="41250"/>
                        <a14:foregroundMark x1="26250" y1="40250" x2="27375" y2="52750"/>
                        <a14:foregroundMark x1="27375" y1="52750" x2="28875" y2="40125"/>
                        <a14:foregroundMark x1="28875" y1="40125" x2="18750" y2="45500"/>
                        <a14:foregroundMark x1="18750" y1="45500" x2="20750" y2="48625"/>
                        <a14:foregroundMark x1="26875" y1="40625" x2="27375" y2="58250"/>
                        <a14:foregroundMark x1="27375" y1="58250" x2="30625" y2="48375"/>
                        <a14:foregroundMark x1="30625" y1="48375" x2="20375" y2="51125"/>
                        <a14:foregroundMark x1="20375" y1="51125" x2="20375" y2="52375"/>
                        <a14:foregroundMark x1="19125" y1="42500" x2="25500" y2="55125"/>
                        <a14:foregroundMark x1="25500" y1="55125" x2="25125" y2="59500"/>
                        <a14:foregroundMark x1="22250" y1="56750" x2="21750" y2="58125"/>
                        <a14:foregroundMark x1="38500" y1="39875" x2="29750" y2="53250"/>
                        <a14:foregroundMark x1="29750" y1="53250" x2="34875" y2="62125"/>
                        <a14:foregroundMark x1="34875" y1="62125" x2="39750" y2="49375"/>
                        <a14:foregroundMark x1="39750" y1="49375" x2="36125" y2="43000"/>
                        <a14:foregroundMark x1="43375" y1="42375" x2="41000" y2="60750"/>
                        <a14:foregroundMark x1="41000" y1="60750" x2="51625" y2="47750"/>
                        <a14:foregroundMark x1="51625" y1="47750" x2="43375" y2="46875"/>
                        <a14:foregroundMark x1="43375" y1="46875" x2="41375" y2="48000"/>
                        <a14:foregroundMark x1="47125" y1="50750" x2="48375" y2="59000"/>
                        <a14:foregroundMark x1="48375" y1="59000" x2="45125" y2="53500"/>
                        <a14:foregroundMark x1="53625" y1="43250" x2="52125" y2="50125"/>
                        <a14:foregroundMark x1="52125" y1="50125" x2="54125" y2="58375"/>
                        <a14:foregroundMark x1="54125" y1="58375" x2="58125" y2="50500"/>
                        <a14:foregroundMark x1="58125" y1="50500" x2="53250" y2="45125"/>
                        <a14:foregroundMark x1="53250" y1="45125" x2="51500" y2="45375"/>
                        <a14:foregroundMark x1="58625" y1="42000" x2="59750" y2="52125"/>
                        <a14:foregroundMark x1="59750" y1="52125" x2="57750" y2="45000"/>
                        <a14:foregroundMark x1="63000" y1="45375" x2="61000" y2="62375"/>
                        <a14:foregroundMark x1="61000" y1="62375" x2="73375" y2="56375"/>
                        <a14:foregroundMark x1="73375" y1="56375" x2="72000" y2="45625"/>
                        <a14:foregroundMark x1="72000" y1="45625" x2="64375" y2="43500"/>
                        <a14:foregroundMark x1="64375" y1="43500" x2="61750" y2="33375"/>
                        <a14:foregroundMark x1="61750" y1="33375" x2="72625" y2="31250"/>
                        <a14:foregroundMark x1="72625" y1="31250" x2="67750" y2="44000"/>
                        <a14:foregroundMark x1="67750" y1="44000" x2="73125" y2="38125"/>
                        <a14:foregroundMark x1="73125" y1="38125" x2="81750" y2="37125"/>
                        <a14:foregroundMark x1="81750" y1="37125" x2="77625" y2="50250"/>
                        <a14:foregroundMark x1="77625" y1="50250" x2="81750" y2="52375"/>
                        <a14:foregroundMark x1="68875" y1="31750" x2="67125" y2="43250"/>
                        <a14:foregroundMark x1="67125" y1="43250" x2="69125" y2="34625"/>
                        <a14:foregroundMark x1="78750" y1="32500" x2="75250" y2="44500"/>
                        <a14:foregroundMark x1="75250" y1="44500" x2="79875" y2="36750"/>
                        <a14:foregroundMark x1="79875" y1="36750" x2="76875" y2="36375"/>
                        <a14:foregroundMark x1="78750" y1="46625" x2="80125" y2="55500"/>
                        <a14:foregroundMark x1="80125" y1="55500" x2="80750" y2="46125"/>
                        <a14:foregroundMark x1="80750" y1="46125" x2="77750" y2="45875"/>
                        <a14:foregroundMark x1="90375" y1="44000" x2="88750" y2="56375"/>
                        <a14:foregroundMark x1="45750" y1="10250" x2="57875" y2="11500"/>
                        <a14:foregroundMark x1="54125" y1="8875" x2="53500" y2="9125"/>
                        <a14:foregroundMark x1="49500" y1="90500" x2="54125" y2="89500"/>
                        <a14:foregroundMark x1="9625" y1="49625" x2="11000" y2="47125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3256" t="7288" r="7881" b="3666"/>
          <a:stretch>
            <a:fillRect/>
          </a:stretch>
        </p:blipFill>
        <p:spPr bwMode="auto">
          <a:xfrm>
            <a:off x="11238614" y="5890437"/>
            <a:ext cx="733648" cy="7351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Imagem 1" descr="Imagem em preto e branco de computador">
            <a:extLst>
              <a:ext uri="{FF2B5EF4-FFF2-40B4-BE49-F238E27FC236}">
                <a16:creationId xmlns:a16="http://schemas.microsoft.com/office/drawing/2014/main" id="{DC5F4DFE-6998-7CA5-AE11-72E7F365676C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0109" r="46517"/>
          <a:stretch/>
        </p:blipFill>
        <p:spPr>
          <a:xfrm>
            <a:off x="10468262" y="21956"/>
            <a:ext cx="1631588" cy="1370909"/>
          </a:xfrm>
          <a:prstGeom prst="rect">
            <a:avLst/>
          </a:prstGeom>
          <a:ln>
            <a:noFill/>
          </a:ln>
          <a:effectLst>
            <a:outerShdw blurRad="50800" dist="88900" dir="8100000" algn="tr" rotWithShape="0">
              <a:prstClr val="black">
                <a:alpha val="25000"/>
              </a:prstClr>
            </a:outerShdw>
          </a:effectLst>
        </p:spPr>
      </p:pic>
      <p:pic>
        <p:nvPicPr>
          <p:cNvPr id="4" name="Imagem 3" descr="Logotipo&#10;&#10;O conteúdo gerado por IA pode estar incorreto.">
            <a:extLst>
              <a:ext uri="{FF2B5EF4-FFF2-40B4-BE49-F238E27FC236}">
                <a16:creationId xmlns:a16="http://schemas.microsoft.com/office/drawing/2014/main" id="{29FEF491-AF3C-6CB9-F26C-3FD5B897C196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74148" y="359203"/>
            <a:ext cx="2339162" cy="696413"/>
          </a:xfrm>
          <a:prstGeom prst="rect">
            <a:avLst/>
          </a:prstGeom>
        </p:spPr>
      </p:pic>
      <p:sp>
        <p:nvSpPr>
          <p:cNvPr id="15" name="CaixaDeTexto 14">
            <a:extLst>
              <a:ext uri="{FF2B5EF4-FFF2-40B4-BE49-F238E27FC236}">
                <a16:creationId xmlns:a16="http://schemas.microsoft.com/office/drawing/2014/main" id="{7510A288-817A-E304-1852-8305ED81DF3B}"/>
              </a:ext>
            </a:extLst>
          </p:cNvPr>
          <p:cNvSpPr txBox="1"/>
          <p:nvPr/>
        </p:nvSpPr>
        <p:spPr>
          <a:xfrm>
            <a:off x="1160251" y="1244312"/>
            <a:ext cx="6551646" cy="646331"/>
          </a:xfrm>
          <a:prstGeom prst="rect">
            <a:avLst/>
          </a:prstGeom>
          <a:noFill/>
          <a:effectLst/>
        </p:spPr>
        <p:txBody>
          <a:bodyPr wrap="square" rtlCol="0">
            <a:spAutoFit/>
          </a:bodyPr>
          <a:lstStyle/>
          <a:p>
            <a:r>
              <a:rPr lang="pt-BR" sz="3600" dirty="0">
                <a:solidFill>
                  <a:schemeClr val="bg2"/>
                </a:solidFill>
                <a:latin typeface="Candara" panose="020E0502030303020204" pitchFamily="34" charset="0"/>
                <a:cs typeface="Arial" pitchFamily="34" charset="0"/>
              </a:rPr>
              <a:t>WEBCAM HD</a:t>
            </a:r>
          </a:p>
        </p:txBody>
      </p:sp>
      <p:pic>
        <p:nvPicPr>
          <p:cNvPr id="16" name="Gráfico 15">
            <a:extLst>
              <a:ext uri="{FF2B5EF4-FFF2-40B4-BE49-F238E27FC236}">
                <a16:creationId xmlns:a16="http://schemas.microsoft.com/office/drawing/2014/main" id="{127DDB58-210F-8890-58EF-1E0AEFABC43F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304421" y="1057487"/>
            <a:ext cx="833156" cy="833156"/>
          </a:xfrm>
          <a:prstGeom prst="rect">
            <a:avLst/>
          </a:prstGeom>
          <a:effectLst/>
        </p:spPr>
      </p:pic>
      <p:sp>
        <p:nvSpPr>
          <p:cNvPr id="17" name="CaixaDeTexto 16">
            <a:extLst>
              <a:ext uri="{FF2B5EF4-FFF2-40B4-BE49-F238E27FC236}">
                <a16:creationId xmlns:a16="http://schemas.microsoft.com/office/drawing/2014/main" id="{DF274CFA-6DB8-E3AA-731E-92759E5FDB5F}"/>
              </a:ext>
            </a:extLst>
          </p:cNvPr>
          <p:cNvSpPr txBox="1"/>
          <p:nvPr/>
        </p:nvSpPr>
        <p:spPr>
          <a:xfrm>
            <a:off x="658185" y="2551837"/>
            <a:ext cx="8258409" cy="1754326"/>
          </a:xfrm>
          <a:prstGeom prst="rect">
            <a:avLst/>
          </a:prstGeom>
          <a:noFill/>
          <a:effectLst/>
        </p:spPr>
        <p:txBody>
          <a:bodyPr wrap="square" rtlCol="0">
            <a:spAutoFit/>
          </a:bodyPr>
          <a:lstStyle/>
          <a:p>
            <a:r>
              <a:rPr lang="pt-BR" sz="3600" dirty="0">
                <a:solidFill>
                  <a:schemeClr val="bg2"/>
                </a:solidFill>
                <a:latin typeface="Candara" panose="020E0502030303020204" pitchFamily="34" charset="0"/>
                <a:cs typeface="Arial" pitchFamily="34" charset="0"/>
              </a:rPr>
              <a:t>Webcam 720p </a:t>
            </a:r>
          </a:p>
          <a:p>
            <a:r>
              <a:rPr lang="pt-BR" sz="3600" dirty="0">
                <a:solidFill>
                  <a:schemeClr val="bg2"/>
                </a:solidFill>
                <a:latin typeface="Candara" panose="020E0502030303020204" pitchFamily="34" charset="0"/>
                <a:cs typeface="Arial" pitchFamily="34" charset="0"/>
              </a:rPr>
              <a:t>com bloqueador </a:t>
            </a:r>
          </a:p>
          <a:p>
            <a:r>
              <a:rPr lang="pt-BR" sz="3600" dirty="0">
                <a:solidFill>
                  <a:schemeClr val="bg2"/>
                </a:solidFill>
                <a:latin typeface="Candara" panose="020E0502030303020204" pitchFamily="34" charset="0"/>
                <a:cs typeface="Arial" pitchFamily="34" charset="0"/>
              </a:rPr>
              <a:t>físico de privacidade</a:t>
            </a:r>
          </a:p>
        </p:txBody>
      </p:sp>
      <p:grpSp>
        <p:nvGrpSpPr>
          <p:cNvPr id="31" name="Agrupar 30">
            <a:extLst>
              <a:ext uri="{FF2B5EF4-FFF2-40B4-BE49-F238E27FC236}">
                <a16:creationId xmlns:a16="http://schemas.microsoft.com/office/drawing/2014/main" id="{84232E84-B34F-0812-1AF1-A4D9BD004B5F}"/>
              </a:ext>
            </a:extLst>
          </p:cNvPr>
          <p:cNvGrpSpPr/>
          <p:nvPr/>
        </p:nvGrpSpPr>
        <p:grpSpPr>
          <a:xfrm>
            <a:off x="5174626" y="1711116"/>
            <a:ext cx="5693483" cy="4179321"/>
            <a:chOff x="5174626" y="1711116"/>
            <a:chExt cx="5693483" cy="4179321"/>
          </a:xfrm>
        </p:grpSpPr>
        <p:grpSp>
          <p:nvGrpSpPr>
            <p:cNvPr id="30" name="Agrupar 29">
              <a:extLst>
                <a:ext uri="{FF2B5EF4-FFF2-40B4-BE49-F238E27FC236}">
                  <a16:creationId xmlns:a16="http://schemas.microsoft.com/office/drawing/2014/main" id="{E8C1D86F-BC69-7973-DB43-DB1E99BB53FA}"/>
                </a:ext>
              </a:extLst>
            </p:cNvPr>
            <p:cNvGrpSpPr/>
            <p:nvPr/>
          </p:nvGrpSpPr>
          <p:grpSpPr>
            <a:xfrm>
              <a:off x="5953979" y="1936360"/>
              <a:ext cx="4157584" cy="2880189"/>
              <a:chOff x="7995055" y="1585026"/>
              <a:chExt cx="5989042" cy="4325419"/>
            </a:xfrm>
          </p:grpSpPr>
          <p:pic>
            <p:nvPicPr>
              <p:cNvPr id="28" name="Imagem 27" descr="Pessoas sorrindo para foto&#10;&#10;O conteúdo gerado por IA pode estar incorreto.">
                <a:extLst>
                  <a:ext uri="{FF2B5EF4-FFF2-40B4-BE49-F238E27FC236}">
                    <a16:creationId xmlns:a16="http://schemas.microsoft.com/office/drawing/2014/main" id="{E9FFC8D6-982D-6F82-7FBD-F4B62210E59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7995055" y="1585026"/>
                <a:ext cx="5989042" cy="4325419"/>
              </a:xfrm>
              <a:prstGeom prst="rect">
                <a:avLst/>
              </a:prstGeom>
            </p:spPr>
          </p:pic>
          <p:pic>
            <p:nvPicPr>
              <p:cNvPr id="14" name="Imagem 13" descr="Uma imagem contendo roda&#10;&#10;Descrição gerada automaticamente">
                <a:extLst>
                  <a:ext uri="{FF2B5EF4-FFF2-40B4-BE49-F238E27FC236}">
                    <a16:creationId xmlns:a16="http://schemas.microsoft.com/office/drawing/2014/main" id="{56B822DE-1183-7E24-BD67-15C8547CF74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0"/>
              <a:stretch>
                <a:fillRect/>
              </a:stretch>
            </p:blipFill>
            <p:spPr>
              <a:xfrm>
                <a:off x="9421350" y="4916438"/>
                <a:ext cx="3419964" cy="709294"/>
              </a:xfrm>
              <a:prstGeom prst="rect">
                <a:avLst/>
              </a:prstGeom>
            </p:spPr>
          </p:pic>
        </p:grpSp>
        <p:pic>
          <p:nvPicPr>
            <p:cNvPr id="29" name="Imagem 28" descr="Computador aberto em tela de computador&#10;&#10;Descrição gerada automaticamente">
              <a:extLst>
                <a:ext uri="{FF2B5EF4-FFF2-40B4-BE49-F238E27FC236}">
                  <a16:creationId xmlns:a16="http://schemas.microsoft.com/office/drawing/2014/main" id="{C2F2E7D5-2E4B-BFD3-7264-F354B23535E4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59" t="-71" r="149" b="102"/>
            <a:stretch/>
          </p:blipFill>
          <p:spPr>
            <a:xfrm>
              <a:off x="5174626" y="1711116"/>
              <a:ext cx="5693483" cy="4179321"/>
            </a:xfrm>
            <a:custGeom>
              <a:avLst/>
              <a:gdLst>
                <a:gd name="connsiteX0" fmla="*/ 1052928 w 7459362"/>
                <a:gd name="connsiteY0" fmla="*/ 364386 h 5445587"/>
                <a:gd name="connsiteX1" fmla="*/ 1025225 w 7459362"/>
                <a:gd name="connsiteY1" fmla="*/ 392089 h 5445587"/>
                <a:gd name="connsiteX2" fmla="*/ 1025225 w 7459362"/>
                <a:gd name="connsiteY2" fmla="*/ 3723301 h 5445587"/>
                <a:gd name="connsiteX3" fmla="*/ 1052928 w 7459362"/>
                <a:gd name="connsiteY3" fmla="*/ 3751004 h 5445587"/>
                <a:gd name="connsiteX4" fmla="*/ 6419628 w 7459362"/>
                <a:gd name="connsiteY4" fmla="*/ 3751004 h 5445587"/>
                <a:gd name="connsiteX5" fmla="*/ 6447331 w 7459362"/>
                <a:gd name="connsiteY5" fmla="*/ 3723301 h 5445587"/>
                <a:gd name="connsiteX6" fmla="*/ 6447331 w 7459362"/>
                <a:gd name="connsiteY6" fmla="*/ 392089 h 5445587"/>
                <a:gd name="connsiteX7" fmla="*/ 6419628 w 7459362"/>
                <a:gd name="connsiteY7" fmla="*/ 364386 h 5445587"/>
                <a:gd name="connsiteX8" fmla="*/ 0 w 7459362"/>
                <a:gd name="connsiteY8" fmla="*/ 0 h 5445587"/>
                <a:gd name="connsiteX9" fmla="*/ 7459362 w 7459362"/>
                <a:gd name="connsiteY9" fmla="*/ 0 h 5445587"/>
                <a:gd name="connsiteX10" fmla="*/ 7459362 w 7459362"/>
                <a:gd name="connsiteY10" fmla="*/ 5445587 h 5445587"/>
                <a:gd name="connsiteX11" fmla="*/ 0 w 7459362"/>
                <a:gd name="connsiteY11" fmla="*/ 5445587 h 54455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7459362" h="5445587">
                  <a:moveTo>
                    <a:pt x="1052928" y="364386"/>
                  </a:moveTo>
                  <a:cubicBezTo>
                    <a:pt x="1037628" y="364386"/>
                    <a:pt x="1025225" y="376789"/>
                    <a:pt x="1025225" y="392089"/>
                  </a:cubicBezTo>
                  <a:lnTo>
                    <a:pt x="1025225" y="3723301"/>
                  </a:lnTo>
                  <a:cubicBezTo>
                    <a:pt x="1025225" y="3738601"/>
                    <a:pt x="1037628" y="3751004"/>
                    <a:pt x="1052928" y="3751004"/>
                  </a:cubicBezTo>
                  <a:lnTo>
                    <a:pt x="6419628" y="3751004"/>
                  </a:lnTo>
                  <a:cubicBezTo>
                    <a:pt x="6434928" y="3751004"/>
                    <a:pt x="6447331" y="3738601"/>
                    <a:pt x="6447331" y="3723301"/>
                  </a:cubicBezTo>
                  <a:lnTo>
                    <a:pt x="6447331" y="392089"/>
                  </a:lnTo>
                  <a:cubicBezTo>
                    <a:pt x="6447331" y="376789"/>
                    <a:pt x="6434928" y="364386"/>
                    <a:pt x="6419628" y="364386"/>
                  </a:cubicBezTo>
                  <a:close/>
                  <a:moveTo>
                    <a:pt x="0" y="0"/>
                  </a:moveTo>
                  <a:lnTo>
                    <a:pt x="7459362" y="0"/>
                  </a:lnTo>
                  <a:lnTo>
                    <a:pt x="7459362" y="5445587"/>
                  </a:lnTo>
                  <a:lnTo>
                    <a:pt x="0" y="5445587"/>
                  </a:lnTo>
                  <a:close/>
                </a:path>
              </a:pathLst>
            </a:custGeom>
          </p:spPr>
        </p:pic>
      </p:grpSp>
    </p:spTree>
    <p:extLst>
      <p:ext uri="{BB962C8B-B14F-4D97-AF65-F5344CB8AC3E}">
        <p14:creationId xmlns:p14="http://schemas.microsoft.com/office/powerpoint/2010/main" val="1181195714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6D2F25F7-C2C6-BAB5-54A9-B9BF22A0053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1" name="Imagem 40" descr="Imagem em preto e branco de computador&#10;&#10;O conteúdo gerado por IA pode estar incorreto.">
            <a:extLst>
              <a:ext uri="{FF2B5EF4-FFF2-40B4-BE49-F238E27FC236}">
                <a16:creationId xmlns:a16="http://schemas.microsoft.com/office/drawing/2014/main" id="{0AF97920-8489-9CD3-7A5C-D1FA1FCC663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3539"/>
          <a:stretch>
            <a:fillRect/>
          </a:stretch>
        </p:blipFill>
        <p:spPr>
          <a:xfrm rot="1507140">
            <a:off x="-33129" y="-1560433"/>
            <a:ext cx="12563059" cy="8349537"/>
          </a:xfrm>
          <a:prstGeom prst="rect">
            <a:avLst/>
          </a:prstGeom>
        </p:spPr>
      </p:pic>
      <p:pic>
        <p:nvPicPr>
          <p:cNvPr id="3" name="Imagem 2" descr="Interface gráfica do usuário&#10;&#10;O conteúdo gerado por IA pode estar incorreto.">
            <a:extLst>
              <a:ext uri="{FF2B5EF4-FFF2-40B4-BE49-F238E27FC236}">
                <a16:creationId xmlns:a16="http://schemas.microsoft.com/office/drawing/2014/main" id="{F57F74ED-D3BF-3D66-D625-EE22D898A736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6447" y="248306"/>
            <a:ext cx="1371600" cy="561358"/>
          </a:xfrm>
          <a:prstGeom prst="rect">
            <a:avLst/>
          </a:prstGeom>
        </p:spPr>
      </p:pic>
      <p:pic>
        <p:nvPicPr>
          <p:cNvPr id="1026" name="Picture 2" descr="logo claro PNG &amp; clipart images | Citypng">
            <a:extLst>
              <a:ext uri="{FF2B5EF4-FFF2-40B4-BE49-F238E27FC236}">
                <a16:creationId xmlns:a16="http://schemas.microsoft.com/office/drawing/2014/main" id="{518C80D9-DCF8-15CA-19A0-186CA3BEEDD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ackgroundRemoval t="8875" b="90500" l="9625" r="90375">
                        <a14:foregroundMark x1="35125" y1="42750" x2="35125" y2="42750"/>
                        <a14:foregroundMark x1="35250" y1="45125" x2="33750" y2="54125"/>
                        <a14:foregroundMark x1="33750" y1="54125" x2="41375" y2="48750"/>
                        <a14:foregroundMark x1="41375" y1="48750" x2="36875" y2="40375"/>
                        <a14:foregroundMark x1="36875" y1="40375" x2="31375" y2="43625"/>
                        <a14:foregroundMark x1="22000" y1="41875" x2="12375" y2="50500"/>
                        <a14:foregroundMark x1="12375" y1="50500" x2="25625" y2="62375"/>
                        <a14:foregroundMark x1="25625" y1="62375" x2="52750" y2="64125"/>
                        <a14:foregroundMark x1="52750" y1="64125" x2="73500" y2="62500"/>
                        <a14:foregroundMark x1="73500" y1="62500" x2="87375" y2="56375"/>
                        <a14:foregroundMark x1="87375" y1="56375" x2="87125" y2="45625"/>
                        <a14:foregroundMark x1="87125" y1="45625" x2="84625" y2="37625"/>
                        <a14:foregroundMark x1="84625" y1="37625" x2="76500" y2="32125"/>
                        <a14:foregroundMark x1="76500" y1="32125" x2="57500" y2="27250"/>
                        <a14:foregroundMark x1="57500" y1="27250" x2="20250" y2="28750"/>
                        <a14:foregroundMark x1="20250" y1="28750" x2="15750" y2="38375"/>
                        <a14:foregroundMark x1="15750" y1="38375" x2="12250" y2="41125"/>
                        <a14:foregroundMark x1="28375" y1="36125" x2="17625" y2="48125"/>
                        <a14:foregroundMark x1="17625" y1="48125" x2="23875" y2="57625"/>
                        <a14:foregroundMark x1="23875" y1="57625" x2="34500" y2="44000"/>
                        <a14:foregroundMark x1="34500" y1="44000" x2="21250" y2="39375"/>
                        <a14:foregroundMark x1="21250" y1="39375" x2="19250" y2="41250"/>
                        <a14:foregroundMark x1="26250" y1="40250" x2="27375" y2="52750"/>
                        <a14:foregroundMark x1="27375" y1="52750" x2="28875" y2="40125"/>
                        <a14:foregroundMark x1="28875" y1="40125" x2="18750" y2="45500"/>
                        <a14:foregroundMark x1="18750" y1="45500" x2="20750" y2="48625"/>
                        <a14:foregroundMark x1="26875" y1="40625" x2="27375" y2="58250"/>
                        <a14:foregroundMark x1="27375" y1="58250" x2="30625" y2="48375"/>
                        <a14:foregroundMark x1="30625" y1="48375" x2="20375" y2="51125"/>
                        <a14:foregroundMark x1="20375" y1="51125" x2="20375" y2="52375"/>
                        <a14:foregroundMark x1="19125" y1="42500" x2="25500" y2="55125"/>
                        <a14:foregroundMark x1="25500" y1="55125" x2="25125" y2="59500"/>
                        <a14:foregroundMark x1="22250" y1="56750" x2="21750" y2="58125"/>
                        <a14:foregroundMark x1="38500" y1="39875" x2="29750" y2="53250"/>
                        <a14:foregroundMark x1="29750" y1="53250" x2="34875" y2="62125"/>
                        <a14:foregroundMark x1="34875" y1="62125" x2="39750" y2="49375"/>
                        <a14:foregroundMark x1="39750" y1="49375" x2="36125" y2="43000"/>
                        <a14:foregroundMark x1="43375" y1="42375" x2="41000" y2="60750"/>
                        <a14:foregroundMark x1="41000" y1="60750" x2="51625" y2="47750"/>
                        <a14:foregroundMark x1="51625" y1="47750" x2="43375" y2="46875"/>
                        <a14:foregroundMark x1="43375" y1="46875" x2="41375" y2="48000"/>
                        <a14:foregroundMark x1="47125" y1="50750" x2="48375" y2="59000"/>
                        <a14:foregroundMark x1="48375" y1="59000" x2="45125" y2="53500"/>
                        <a14:foregroundMark x1="53625" y1="43250" x2="52125" y2="50125"/>
                        <a14:foregroundMark x1="52125" y1="50125" x2="54125" y2="58375"/>
                        <a14:foregroundMark x1="54125" y1="58375" x2="58125" y2="50500"/>
                        <a14:foregroundMark x1="58125" y1="50500" x2="53250" y2="45125"/>
                        <a14:foregroundMark x1="53250" y1="45125" x2="51500" y2="45375"/>
                        <a14:foregroundMark x1="58625" y1="42000" x2="59750" y2="52125"/>
                        <a14:foregroundMark x1="59750" y1="52125" x2="57750" y2="45000"/>
                        <a14:foregroundMark x1="63000" y1="45375" x2="61000" y2="62375"/>
                        <a14:foregroundMark x1="61000" y1="62375" x2="73375" y2="56375"/>
                        <a14:foregroundMark x1="73375" y1="56375" x2="72000" y2="45625"/>
                        <a14:foregroundMark x1="72000" y1="45625" x2="64375" y2="43500"/>
                        <a14:foregroundMark x1="64375" y1="43500" x2="61750" y2="33375"/>
                        <a14:foregroundMark x1="61750" y1="33375" x2="72625" y2="31250"/>
                        <a14:foregroundMark x1="72625" y1="31250" x2="67750" y2="44000"/>
                        <a14:foregroundMark x1="67750" y1="44000" x2="73125" y2="38125"/>
                        <a14:foregroundMark x1="73125" y1="38125" x2="81750" y2="37125"/>
                        <a14:foregroundMark x1="81750" y1="37125" x2="77625" y2="50250"/>
                        <a14:foregroundMark x1="77625" y1="50250" x2="81750" y2="52375"/>
                        <a14:foregroundMark x1="68875" y1="31750" x2="67125" y2="43250"/>
                        <a14:foregroundMark x1="67125" y1="43250" x2="69125" y2="34625"/>
                        <a14:foregroundMark x1="78750" y1="32500" x2="75250" y2="44500"/>
                        <a14:foregroundMark x1="75250" y1="44500" x2="79875" y2="36750"/>
                        <a14:foregroundMark x1="79875" y1="36750" x2="76875" y2="36375"/>
                        <a14:foregroundMark x1="78750" y1="46625" x2="80125" y2="55500"/>
                        <a14:foregroundMark x1="80125" y1="55500" x2="80750" y2="46125"/>
                        <a14:foregroundMark x1="80750" y1="46125" x2="77750" y2="45875"/>
                        <a14:foregroundMark x1="90375" y1="44000" x2="88750" y2="56375"/>
                        <a14:foregroundMark x1="45750" y1="10250" x2="57875" y2="11500"/>
                        <a14:foregroundMark x1="54125" y1="8875" x2="53500" y2="9125"/>
                        <a14:foregroundMark x1="49500" y1="90500" x2="54125" y2="89500"/>
                        <a14:foregroundMark x1="9625" y1="49625" x2="11000" y2="47125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3256" t="7288" r="7881" b="3666"/>
          <a:stretch>
            <a:fillRect/>
          </a:stretch>
        </p:blipFill>
        <p:spPr bwMode="auto">
          <a:xfrm>
            <a:off x="11238614" y="5890437"/>
            <a:ext cx="733648" cy="7351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Imagem 1" descr="Imagem em preto e branco de computador">
            <a:extLst>
              <a:ext uri="{FF2B5EF4-FFF2-40B4-BE49-F238E27FC236}">
                <a16:creationId xmlns:a16="http://schemas.microsoft.com/office/drawing/2014/main" id="{A1155E3B-91C8-869F-F368-D65F458823BF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0109" r="46517"/>
          <a:stretch/>
        </p:blipFill>
        <p:spPr>
          <a:xfrm>
            <a:off x="10468262" y="21956"/>
            <a:ext cx="1631588" cy="1370909"/>
          </a:xfrm>
          <a:prstGeom prst="rect">
            <a:avLst/>
          </a:prstGeom>
          <a:ln>
            <a:noFill/>
          </a:ln>
          <a:effectLst>
            <a:outerShdw blurRad="50800" dist="88900" dir="8100000" algn="tr" rotWithShape="0">
              <a:prstClr val="black">
                <a:alpha val="25000"/>
              </a:prstClr>
            </a:outerShdw>
          </a:effectLst>
        </p:spPr>
      </p:pic>
      <p:pic>
        <p:nvPicPr>
          <p:cNvPr id="4" name="Imagem 3" descr="Logotipo&#10;&#10;O conteúdo gerado por IA pode estar incorreto.">
            <a:extLst>
              <a:ext uri="{FF2B5EF4-FFF2-40B4-BE49-F238E27FC236}">
                <a16:creationId xmlns:a16="http://schemas.microsoft.com/office/drawing/2014/main" id="{A9CFC3DC-AE68-BE15-6B2A-B7ABAFCE89FF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74148" y="359203"/>
            <a:ext cx="2339162" cy="696413"/>
          </a:xfrm>
          <a:prstGeom prst="rect">
            <a:avLst/>
          </a:prstGeom>
        </p:spPr>
      </p:pic>
      <p:sp>
        <p:nvSpPr>
          <p:cNvPr id="7" name="AutoShape 8" descr="Inquebráveis: 3 celulares Motorola com certificação militar ...">
            <a:extLst>
              <a:ext uri="{FF2B5EF4-FFF2-40B4-BE49-F238E27FC236}">
                <a16:creationId xmlns:a16="http://schemas.microsoft.com/office/drawing/2014/main" id="{CED82491-263E-6DD2-6B45-936EECE7A8A9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5943600" y="327660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pic>
        <p:nvPicPr>
          <p:cNvPr id="8" name="Imagem 7" descr="Uma imagem contendo Texto&#10;&#10;O conteúdo gerado por IA pode estar incorreto.">
            <a:extLst>
              <a:ext uri="{FF2B5EF4-FFF2-40B4-BE49-F238E27FC236}">
                <a16:creationId xmlns:a16="http://schemas.microsoft.com/office/drawing/2014/main" id="{1DC83CC6-1A2B-30BA-6454-DE72293BBF59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backgroundRemoval t="10000" b="90000" l="10000" r="90000">
                        <a14:foregroundMark x1="67600" y1="36421" x2="75200" y2="55102"/>
                        <a14:foregroundMark x1="75200" y1="55102" x2="75200" y2="55259"/>
                        <a14:foregroundMark x1="77500" y1="41287" x2="80600" y2="46782"/>
                        <a14:foregroundMark x1="80600" y1="46782" x2="82100" y2="52904"/>
                        <a14:foregroundMark x1="88300" y1="53689" x2="83800" y2="65463"/>
                        <a14:foregroundMark x1="83800" y1="65463" x2="83300" y2="65934"/>
                        <a14:foregroundMark x1="87700" y1="58870" x2="79900" y2="69545"/>
                        <a14:foregroundMark x1="87400" y1="61381" x2="81300" y2="72214"/>
                        <a14:foregroundMark x1="81300" y1="72214" x2="77100" y2="76452"/>
                        <a14:backgroundMark x1="25700" y1="26688" x2="32400" y2="62637"/>
                        <a14:backgroundMark x1="32400" y1="62637" x2="32300" y2="62637"/>
                        <a14:backgroundMark x1="23000" y1="20408" x2="22600" y2="56044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58494" t="21010"/>
          <a:stretch/>
        </p:blipFill>
        <p:spPr>
          <a:xfrm>
            <a:off x="9748525" y="1135671"/>
            <a:ext cx="2439531" cy="2957328"/>
          </a:xfrm>
          <a:prstGeom prst="rect">
            <a:avLst/>
          </a:prstGeom>
        </p:spPr>
      </p:pic>
      <p:sp>
        <p:nvSpPr>
          <p:cNvPr id="10" name="CaixaDeTexto 9">
            <a:extLst>
              <a:ext uri="{FF2B5EF4-FFF2-40B4-BE49-F238E27FC236}">
                <a16:creationId xmlns:a16="http://schemas.microsoft.com/office/drawing/2014/main" id="{416AF4D4-4006-F6E2-8DE9-42E13BD0C943}"/>
              </a:ext>
            </a:extLst>
          </p:cNvPr>
          <p:cNvSpPr txBox="1"/>
          <p:nvPr/>
        </p:nvSpPr>
        <p:spPr>
          <a:xfrm>
            <a:off x="0" y="2614335"/>
            <a:ext cx="5243436" cy="1200329"/>
          </a:xfrm>
          <a:prstGeom prst="rect">
            <a:avLst/>
          </a:prstGeom>
          <a:noFill/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3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ndara" panose="020E0502030303020204" pitchFamily="34" charset="0"/>
              </a:rPr>
              <a:t>Resistência para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3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ndara" panose="020E0502030303020204" pitchFamily="34" charset="0"/>
              </a:rPr>
              <a:t>o seu dia a dia</a:t>
            </a:r>
          </a:p>
        </p:txBody>
      </p:sp>
      <p:pic>
        <p:nvPicPr>
          <p:cNvPr id="39" name="Imagem 38" descr="Interface gráfica do usuário, Aplicativo&#10;&#10;Descrição gerada automaticamente">
            <a:extLst>
              <a:ext uri="{FF2B5EF4-FFF2-40B4-BE49-F238E27FC236}">
                <a16:creationId xmlns:a16="http://schemas.microsoft.com/office/drawing/2014/main" id="{8779CF5B-861D-15CE-7006-4913D3F7ECAB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1326" y="3859331"/>
            <a:ext cx="5243436" cy="2362717"/>
          </a:xfrm>
          <a:prstGeom prst="rect">
            <a:avLst/>
          </a:prstGeom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411691880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346AEA70-CF25-07FE-FB68-FCA70DF7DFD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m 2" descr="Interface gráfica do usuário&#10;&#10;O conteúdo gerado por IA pode estar incorreto.">
            <a:extLst>
              <a:ext uri="{FF2B5EF4-FFF2-40B4-BE49-F238E27FC236}">
                <a16:creationId xmlns:a16="http://schemas.microsoft.com/office/drawing/2014/main" id="{FA4AC944-B3C7-6A0F-5CB8-61C69A63FD4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6447" y="248306"/>
            <a:ext cx="1371600" cy="561358"/>
          </a:xfrm>
          <a:prstGeom prst="rect">
            <a:avLst/>
          </a:prstGeom>
        </p:spPr>
      </p:pic>
      <p:pic>
        <p:nvPicPr>
          <p:cNvPr id="1026" name="Picture 2" descr="logo claro PNG &amp; clipart images | Citypng">
            <a:extLst>
              <a:ext uri="{FF2B5EF4-FFF2-40B4-BE49-F238E27FC236}">
                <a16:creationId xmlns:a16="http://schemas.microsoft.com/office/drawing/2014/main" id="{01467F9C-1470-334D-CF03-AE5DF6F9648D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ackgroundRemoval t="8875" b="90500" l="9625" r="90375">
                        <a14:foregroundMark x1="35125" y1="42750" x2="35125" y2="42750"/>
                        <a14:foregroundMark x1="35250" y1="45125" x2="33750" y2="54125"/>
                        <a14:foregroundMark x1="33750" y1="54125" x2="41375" y2="48750"/>
                        <a14:foregroundMark x1="41375" y1="48750" x2="36875" y2="40375"/>
                        <a14:foregroundMark x1="36875" y1="40375" x2="31375" y2="43625"/>
                        <a14:foregroundMark x1="22000" y1="41875" x2="12375" y2="50500"/>
                        <a14:foregroundMark x1="12375" y1="50500" x2="25625" y2="62375"/>
                        <a14:foregroundMark x1="25625" y1="62375" x2="52750" y2="64125"/>
                        <a14:foregroundMark x1="52750" y1="64125" x2="73500" y2="62500"/>
                        <a14:foregroundMark x1="73500" y1="62500" x2="87375" y2="56375"/>
                        <a14:foregroundMark x1="87375" y1="56375" x2="87125" y2="45625"/>
                        <a14:foregroundMark x1="87125" y1="45625" x2="84625" y2="37625"/>
                        <a14:foregroundMark x1="84625" y1="37625" x2="76500" y2="32125"/>
                        <a14:foregroundMark x1="76500" y1="32125" x2="57500" y2="27250"/>
                        <a14:foregroundMark x1="57500" y1="27250" x2="20250" y2="28750"/>
                        <a14:foregroundMark x1="20250" y1="28750" x2="15750" y2="38375"/>
                        <a14:foregroundMark x1="15750" y1="38375" x2="12250" y2="41125"/>
                        <a14:foregroundMark x1="28375" y1="36125" x2="17625" y2="48125"/>
                        <a14:foregroundMark x1="17625" y1="48125" x2="23875" y2="57625"/>
                        <a14:foregroundMark x1="23875" y1="57625" x2="34500" y2="44000"/>
                        <a14:foregroundMark x1="34500" y1="44000" x2="21250" y2="39375"/>
                        <a14:foregroundMark x1="21250" y1="39375" x2="19250" y2="41250"/>
                        <a14:foregroundMark x1="26250" y1="40250" x2="27375" y2="52750"/>
                        <a14:foregroundMark x1="27375" y1="52750" x2="28875" y2="40125"/>
                        <a14:foregroundMark x1="28875" y1="40125" x2="18750" y2="45500"/>
                        <a14:foregroundMark x1="18750" y1="45500" x2="20750" y2="48625"/>
                        <a14:foregroundMark x1="26875" y1="40625" x2="27375" y2="58250"/>
                        <a14:foregroundMark x1="27375" y1="58250" x2="30625" y2="48375"/>
                        <a14:foregroundMark x1="30625" y1="48375" x2="20375" y2="51125"/>
                        <a14:foregroundMark x1="20375" y1="51125" x2="20375" y2="52375"/>
                        <a14:foregroundMark x1="19125" y1="42500" x2="25500" y2="55125"/>
                        <a14:foregroundMark x1="25500" y1="55125" x2="25125" y2="59500"/>
                        <a14:foregroundMark x1="22250" y1="56750" x2="21750" y2="58125"/>
                        <a14:foregroundMark x1="38500" y1="39875" x2="29750" y2="53250"/>
                        <a14:foregroundMark x1="29750" y1="53250" x2="34875" y2="62125"/>
                        <a14:foregroundMark x1="34875" y1="62125" x2="39750" y2="49375"/>
                        <a14:foregroundMark x1="39750" y1="49375" x2="36125" y2="43000"/>
                        <a14:foregroundMark x1="43375" y1="42375" x2="41000" y2="60750"/>
                        <a14:foregroundMark x1="41000" y1="60750" x2="51625" y2="47750"/>
                        <a14:foregroundMark x1="51625" y1="47750" x2="43375" y2="46875"/>
                        <a14:foregroundMark x1="43375" y1="46875" x2="41375" y2="48000"/>
                        <a14:foregroundMark x1="47125" y1="50750" x2="48375" y2="59000"/>
                        <a14:foregroundMark x1="48375" y1="59000" x2="45125" y2="53500"/>
                        <a14:foregroundMark x1="53625" y1="43250" x2="52125" y2="50125"/>
                        <a14:foregroundMark x1="52125" y1="50125" x2="54125" y2="58375"/>
                        <a14:foregroundMark x1="54125" y1="58375" x2="58125" y2="50500"/>
                        <a14:foregroundMark x1="58125" y1="50500" x2="53250" y2="45125"/>
                        <a14:foregroundMark x1="53250" y1="45125" x2="51500" y2="45375"/>
                        <a14:foregroundMark x1="58625" y1="42000" x2="59750" y2="52125"/>
                        <a14:foregroundMark x1="59750" y1="52125" x2="57750" y2="45000"/>
                        <a14:foregroundMark x1="63000" y1="45375" x2="61000" y2="62375"/>
                        <a14:foregroundMark x1="61000" y1="62375" x2="73375" y2="56375"/>
                        <a14:foregroundMark x1="73375" y1="56375" x2="72000" y2="45625"/>
                        <a14:foregroundMark x1="72000" y1="45625" x2="64375" y2="43500"/>
                        <a14:foregroundMark x1="64375" y1="43500" x2="61750" y2="33375"/>
                        <a14:foregroundMark x1="61750" y1="33375" x2="72625" y2="31250"/>
                        <a14:foregroundMark x1="72625" y1="31250" x2="67750" y2="44000"/>
                        <a14:foregroundMark x1="67750" y1="44000" x2="73125" y2="38125"/>
                        <a14:foregroundMark x1="73125" y1="38125" x2="81750" y2="37125"/>
                        <a14:foregroundMark x1="81750" y1="37125" x2="77625" y2="50250"/>
                        <a14:foregroundMark x1="77625" y1="50250" x2="81750" y2="52375"/>
                        <a14:foregroundMark x1="68875" y1="31750" x2="67125" y2="43250"/>
                        <a14:foregroundMark x1="67125" y1="43250" x2="69125" y2="34625"/>
                        <a14:foregroundMark x1="78750" y1="32500" x2="75250" y2="44500"/>
                        <a14:foregroundMark x1="75250" y1="44500" x2="79875" y2="36750"/>
                        <a14:foregroundMark x1="79875" y1="36750" x2="76875" y2="36375"/>
                        <a14:foregroundMark x1="78750" y1="46625" x2="80125" y2="55500"/>
                        <a14:foregroundMark x1="80125" y1="55500" x2="80750" y2="46125"/>
                        <a14:foregroundMark x1="80750" y1="46125" x2="77750" y2="45875"/>
                        <a14:foregroundMark x1="90375" y1="44000" x2="88750" y2="56375"/>
                        <a14:foregroundMark x1="45750" y1="10250" x2="57875" y2="11500"/>
                        <a14:foregroundMark x1="54125" y1="8875" x2="53500" y2="9125"/>
                        <a14:foregroundMark x1="49500" y1="90500" x2="54125" y2="89500"/>
                        <a14:foregroundMark x1="9625" y1="49625" x2="11000" y2="47125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3256" t="7288" r="7881" b="3666"/>
          <a:stretch>
            <a:fillRect/>
          </a:stretch>
        </p:blipFill>
        <p:spPr bwMode="auto">
          <a:xfrm>
            <a:off x="11238614" y="5890437"/>
            <a:ext cx="733648" cy="7351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Imagem 1" descr="Imagem em preto e branco de computador">
            <a:extLst>
              <a:ext uri="{FF2B5EF4-FFF2-40B4-BE49-F238E27FC236}">
                <a16:creationId xmlns:a16="http://schemas.microsoft.com/office/drawing/2014/main" id="{1A0DC44D-CD2A-72C9-A754-CEA0E231506D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0109" r="46517"/>
          <a:stretch/>
        </p:blipFill>
        <p:spPr>
          <a:xfrm>
            <a:off x="10728248" y="21957"/>
            <a:ext cx="1371601" cy="1152460"/>
          </a:xfrm>
          <a:prstGeom prst="rect">
            <a:avLst/>
          </a:prstGeom>
          <a:ln>
            <a:noFill/>
          </a:ln>
          <a:effectLst>
            <a:outerShdw blurRad="50800" dist="88900" dir="8100000" algn="tr" rotWithShape="0">
              <a:prstClr val="black">
                <a:alpha val="25000"/>
              </a:prstClr>
            </a:outerShdw>
          </a:effectLst>
        </p:spPr>
      </p:pic>
      <p:pic>
        <p:nvPicPr>
          <p:cNvPr id="4" name="Imagem 3" descr="Logotipo&#10;&#10;O conteúdo gerado por IA pode estar incorreto.">
            <a:extLst>
              <a:ext uri="{FF2B5EF4-FFF2-40B4-BE49-F238E27FC236}">
                <a16:creationId xmlns:a16="http://schemas.microsoft.com/office/drawing/2014/main" id="{7D0EA10F-DC66-C01D-6D75-27AFAB7C18FD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76167" y="277459"/>
            <a:ext cx="2339162" cy="696413"/>
          </a:xfrm>
          <a:prstGeom prst="rect">
            <a:avLst/>
          </a:prstGeom>
        </p:spPr>
      </p:pic>
      <p:pic>
        <p:nvPicPr>
          <p:cNvPr id="22" name="Imagem 21" descr="Logotipo&#10;&#10;O conteúdo gerado por IA pode estar incorreto.">
            <a:extLst>
              <a:ext uri="{FF2B5EF4-FFF2-40B4-BE49-F238E27FC236}">
                <a16:creationId xmlns:a16="http://schemas.microsoft.com/office/drawing/2014/main" id="{81A395BE-AA99-3835-9022-B5AB9A8C0196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200000">
            <a:off x="13039183" y="5409915"/>
            <a:ext cx="825049" cy="458706"/>
          </a:xfrm>
          <a:prstGeom prst="rect">
            <a:avLst/>
          </a:prstGeom>
        </p:spPr>
      </p:pic>
      <p:pic>
        <p:nvPicPr>
          <p:cNvPr id="5" name="Imagem 4" descr="Máquina com botões&#10;&#10;O conteúdo gerado por IA pode estar incorreto.">
            <a:extLst>
              <a:ext uri="{FF2B5EF4-FFF2-40B4-BE49-F238E27FC236}">
                <a16:creationId xmlns:a16="http://schemas.microsoft.com/office/drawing/2014/main" id="{4A4CDF7C-14DB-574A-C142-5DF325833A32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0421"/>
          <a:stretch>
            <a:fillRect/>
          </a:stretch>
        </p:blipFill>
        <p:spPr>
          <a:xfrm>
            <a:off x="6022943" y="1430798"/>
            <a:ext cx="5419758" cy="4091175"/>
          </a:xfrm>
          <a:prstGeom prst="roundRect">
            <a:avLst>
              <a:gd name="adj" fmla="val 8027"/>
            </a:avLst>
          </a:prstGeom>
        </p:spPr>
      </p:pic>
      <p:sp>
        <p:nvSpPr>
          <p:cNvPr id="6" name="CaixaDeTexto 5">
            <a:extLst>
              <a:ext uri="{FF2B5EF4-FFF2-40B4-BE49-F238E27FC236}">
                <a16:creationId xmlns:a16="http://schemas.microsoft.com/office/drawing/2014/main" id="{DBDB9670-8855-687B-2229-F01A04F2FF83}"/>
              </a:ext>
            </a:extLst>
          </p:cNvPr>
          <p:cNvSpPr txBox="1"/>
          <p:nvPr/>
        </p:nvSpPr>
        <p:spPr>
          <a:xfrm>
            <a:off x="184298" y="1174417"/>
            <a:ext cx="6003849" cy="584775"/>
          </a:xfrm>
          <a:prstGeom prst="rect">
            <a:avLst/>
          </a:prstGeom>
          <a:noFill/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txBody>
          <a:bodyPr wrap="square" rtlCol="0">
            <a:spAutoFit/>
          </a:bodyPr>
          <a:lstStyle/>
          <a:p>
            <a:r>
              <a:rPr lang="pt-BR" sz="3200" b="1" dirty="0">
                <a:solidFill>
                  <a:schemeClr val="bg1"/>
                </a:solidFill>
                <a:latin typeface="Candara" panose="020E0502030303020204" pitchFamily="34" charset="0"/>
              </a:rPr>
              <a:t>Garantia aberta e fácil upgrade</a:t>
            </a:r>
          </a:p>
        </p:txBody>
      </p:sp>
      <p:sp>
        <p:nvSpPr>
          <p:cNvPr id="8" name="CaixaDeTexto 7">
            <a:extLst>
              <a:ext uri="{FF2B5EF4-FFF2-40B4-BE49-F238E27FC236}">
                <a16:creationId xmlns:a16="http://schemas.microsoft.com/office/drawing/2014/main" id="{A22FD698-8A33-C526-8115-5E44F6E9173B}"/>
              </a:ext>
            </a:extLst>
          </p:cNvPr>
          <p:cNvSpPr txBox="1"/>
          <p:nvPr/>
        </p:nvSpPr>
        <p:spPr>
          <a:xfrm>
            <a:off x="531834" y="2185501"/>
            <a:ext cx="4637323" cy="1200329"/>
          </a:xfrm>
          <a:prstGeom prst="rect">
            <a:avLst/>
          </a:prstGeom>
          <a:noFill/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txBody>
          <a:bodyPr wrap="square" rtlCol="0">
            <a:spAutoFit/>
          </a:bodyPr>
          <a:lstStyle/>
          <a:p>
            <a:r>
              <a:rPr lang="pt-BR" sz="2400" b="1" dirty="0">
                <a:solidFill>
                  <a:schemeClr val="bg1"/>
                </a:solidFill>
                <a:latin typeface="Candara" panose="020E0502030303020204" pitchFamily="34" charset="0"/>
              </a:rPr>
              <a:t>Memória interna SSD NVME 2242 </a:t>
            </a:r>
          </a:p>
          <a:p>
            <a:r>
              <a:rPr lang="pt-BR" sz="2400" b="1" dirty="0">
                <a:solidFill>
                  <a:schemeClr val="bg1"/>
                </a:solidFill>
                <a:latin typeface="Candara" panose="020E0502030303020204" pitchFamily="34" charset="0"/>
              </a:rPr>
              <a:t>com suporte até 1 TB</a:t>
            </a:r>
          </a:p>
          <a:p>
            <a:r>
              <a:rPr lang="pt-BR" sz="2400" b="1" dirty="0">
                <a:solidFill>
                  <a:schemeClr val="bg1"/>
                </a:solidFill>
                <a:latin typeface="Candara" panose="020E0502030303020204" pitchFamily="34" charset="0"/>
              </a:rPr>
              <a:t>+Slot livre NVME 2242 até 1TB </a:t>
            </a:r>
          </a:p>
        </p:txBody>
      </p:sp>
      <p:sp>
        <p:nvSpPr>
          <p:cNvPr id="9" name="CaixaDeTexto 8">
            <a:extLst>
              <a:ext uri="{FF2B5EF4-FFF2-40B4-BE49-F238E27FC236}">
                <a16:creationId xmlns:a16="http://schemas.microsoft.com/office/drawing/2014/main" id="{C778C38D-29FC-912C-81AB-247170AB5782}"/>
              </a:ext>
            </a:extLst>
          </p:cNvPr>
          <p:cNvSpPr txBox="1"/>
          <p:nvPr/>
        </p:nvSpPr>
        <p:spPr>
          <a:xfrm>
            <a:off x="531834" y="3780934"/>
            <a:ext cx="5087765" cy="1200329"/>
          </a:xfrm>
          <a:prstGeom prst="rect">
            <a:avLst/>
          </a:prstGeom>
          <a:noFill/>
          <a:effectLst>
            <a:outerShdw blurRad="50800" dist="38100" dir="10800000" algn="r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r>
              <a:rPr lang="pt-BR" sz="2400" b="1" dirty="0">
                <a:solidFill>
                  <a:schemeClr val="bg1"/>
                </a:solidFill>
                <a:latin typeface="Candara" panose="020E0502030303020204" pitchFamily="34" charset="0"/>
              </a:rPr>
              <a:t>Memória RAM DDR5 </a:t>
            </a:r>
          </a:p>
          <a:p>
            <a:r>
              <a:rPr lang="pt-BR" sz="2400" b="1" dirty="0">
                <a:solidFill>
                  <a:schemeClr val="bg1"/>
                </a:solidFill>
                <a:latin typeface="Candara" panose="020E0502030303020204" pitchFamily="34" charset="0"/>
              </a:rPr>
              <a:t>4800MHz Suporta até 24GB </a:t>
            </a:r>
          </a:p>
          <a:p>
            <a:r>
              <a:rPr lang="pt-BR" sz="2400" b="1" dirty="0">
                <a:solidFill>
                  <a:schemeClr val="bg1"/>
                </a:solidFill>
                <a:latin typeface="Candara" panose="020E0502030303020204" pitchFamily="34" charset="0"/>
              </a:rPr>
              <a:t>(8GB soldado+Slot disponível)</a:t>
            </a:r>
          </a:p>
        </p:txBody>
      </p:sp>
    </p:spTree>
    <p:extLst>
      <p:ext uri="{BB962C8B-B14F-4D97-AF65-F5344CB8AC3E}">
        <p14:creationId xmlns:p14="http://schemas.microsoft.com/office/powerpoint/2010/main" val="65377126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  <p:bldP spid="9" grpId="0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E2C4C71D-0F37-EF2A-5FA9-6B4CC80686F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m 2" descr="Interface gráfica do usuário&#10;&#10;O conteúdo gerado por IA pode estar incorreto.">
            <a:extLst>
              <a:ext uri="{FF2B5EF4-FFF2-40B4-BE49-F238E27FC236}">
                <a16:creationId xmlns:a16="http://schemas.microsoft.com/office/drawing/2014/main" id="{AE0FDE0A-6BE6-9D48-3FCF-65CCA5F025A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6447" y="248306"/>
            <a:ext cx="1371600" cy="561358"/>
          </a:xfrm>
          <a:prstGeom prst="rect">
            <a:avLst/>
          </a:prstGeom>
        </p:spPr>
      </p:pic>
      <p:pic>
        <p:nvPicPr>
          <p:cNvPr id="1026" name="Picture 2" descr="logo claro PNG &amp; clipart images | Citypng">
            <a:extLst>
              <a:ext uri="{FF2B5EF4-FFF2-40B4-BE49-F238E27FC236}">
                <a16:creationId xmlns:a16="http://schemas.microsoft.com/office/drawing/2014/main" id="{5720999C-238C-D3A2-0DD5-0D9CD56BF7D7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ackgroundRemoval t="8875" b="90500" l="9625" r="90375">
                        <a14:foregroundMark x1="35125" y1="42750" x2="35125" y2="42750"/>
                        <a14:foregroundMark x1="35250" y1="45125" x2="33750" y2="54125"/>
                        <a14:foregroundMark x1="33750" y1="54125" x2="41375" y2="48750"/>
                        <a14:foregroundMark x1="41375" y1="48750" x2="36875" y2="40375"/>
                        <a14:foregroundMark x1="36875" y1="40375" x2="31375" y2="43625"/>
                        <a14:foregroundMark x1="22000" y1="41875" x2="12375" y2="50500"/>
                        <a14:foregroundMark x1="12375" y1="50500" x2="25625" y2="62375"/>
                        <a14:foregroundMark x1="25625" y1="62375" x2="52750" y2="64125"/>
                        <a14:foregroundMark x1="52750" y1="64125" x2="73500" y2="62500"/>
                        <a14:foregroundMark x1="73500" y1="62500" x2="87375" y2="56375"/>
                        <a14:foregroundMark x1="87375" y1="56375" x2="87125" y2="45625"/>
                        <a14:foregroundMark x1="87125" y1="45625" x2="84625" y2="37625"/>
                        <a14:foregroundMark x1="84625" y1="37625" x2="76500" y2="32125"/>
                        <a14:foregroundMark x1="76500" y1="32125" x2="57500" y2="27250"/>
                        <a14:foregroundMark x1="57500" y1="27250" x2="20250" y2="28750"/>
                        <a14:foregroundMark x1="20250" y1="28750" x2="15750" y2="38375"/>
                        <a14:foregroundMark x1="15750" y1="38375" x2="12250" y2="41125"/>
                        <a14:foregroundMark x1="28375" y1="36125" x2="17625" y2="48125"/>
                        <a14:foregroundMark x1="17625" y1="48125" x2="23875" y2="57625"/>
                        <a14:foregroundMark x1="23875" y1="57625" x2="34500" y2="44000"/>
                        <a14:foregroundMark x1="34500" y1="44000" x2="21250" y2="39375"/>
                        <a14:foregroundMark x1="21250" y1="39375" x2="19250" y2="41250"/>
                        <a14:foregroundMark x1="26250" y1="40250" x2="27375" y2="52750"/>
                        <a14:foregroundMark x1="27375" y1="52750" x2="28875" y2="40125"/>
                        <a14:foregroundMark x1="28875" y1="40125" x2="18750" y2="45500"/>
                        <a14:foregroundMark x1="18750" y1="45500" x2="20750" y2="48625"/>
                        <a14:foregroundMark x1="26875" y1="40625" x2="27375" y2="58250"/>
                        <a14:foregroundMark x1="27375" y1="58250" x2="30625" y2="48375"/>
                        <a14:foregroundMark x1="30625" y1="48375" x2="20375" y2="51125"/>
                        <a14:foregroundMark x1="20375" y1="51125" x2="20375" y2="52375"/>
                        <a14:foregroundMark x1="19125" y1="42500" x2="25500" y2="55125"/>
                        <a14:foregroundMark x1="25500" y1="55125" x2="25125" y2="59500"/>
                        <a14:foregroundMark x1="22250" y1="56750" x2="21750" y2="58125"/>
                        <a14:foregroundMark x1="38500" y1="39875" x2="29750" y2="53250"/>
                        <a14:foregroundMark x1="29750" y1="53250" x2="34875" y2="62125"/>
                        <a14:foregroundMark x1="34875" y1="62125" x2="39750" y2="49375"/>
                        <a14:foregroundMark x1="39750" y1="49375" x2="36125" y2="43000"/>
                        <a14:foregroundMark x1="43375" y1="42375" x2="41000" y2="60750"/>
                        <a14:foregroundMark x1="41000" y1="60750" x2="51625" y2="47750"/>
                        <a14:foregroundMark x1="51625" y1="47750" x2="43375" y2="46875"/>
                        <a14:foregroundMark x1="43375" y1="46875" x2="41375" y2="48000"/>
                        <a14:foregroundMark x1="47125" y1="50750" x2="48375" y2="59000"/>
                        <a14:foregroundMark x1="48375" y1="59000" x2="45125" y2="53500"/>
                        <a14:foregroundMark x1="53625" y1="43250" x2="52125" y2="50125"/>
                        <a14:foregroundMark x1="52125" y1="50125" x2="54125" y2="58375"/>
                        <a14:foregroundMark x1="54125" y1="58375" x2="58125" y2="50500"/>
                        <a14:foregroundMark x1="58125" y1="50500" x2="53250" y2="45125"/>
                        <a14:foregroundMark x1="53250" y1="45125" x2="51500" y2="45375"/>
                        <a14:foregroundMark x1="58625" y1="42000" x2="59750" y2="52125"/>
                        <a14:foregroundMark x1="59750" y1="52125" x2="57750" y2="45000"/>
                        <a14:foregroundMark x1="63000" y1="45375" x2="61000" y2="62375"/>
                        <a14:foregroundMark x1="61000" y1="62375" x2="73375" y2="56375"/>
                        <a14:foregroundMark x1="73375" y1="56375" x2="72000" y2="45625"/>
                        <a14:foregroundMark x1="72000" y1="45625" x2="64375" y2="43500"/>
                        <a14:foregroundMark x1="64375" y1="43500" x2="61750" y2="33375"/>
                        <a14:foregroundMark x1="61750" y1="33375" x2="72625" y2="31250"/>
                        <a14:foregroundMark x1="72625" y1="31250" x2="67750" y2="44000"/>
                        <a14:foregroundMark x1="67750" y1="44000" x2="73125" y2="38125"/>
                        <a14:foregroundMark x1="73125" y1="38125" x2="81750" y2="37125"/>
                        <a14:foregroundMark x1="81750" y1="37125" x2="77625" y2="50250"/>
                        <a14:foregroundMark x1="77625" y1="50250" x2="81750" y2="52375"/>
                        <a14:foregroundMark x1="68875" y1="31750" x2="67125" y2="43250"/>
                        <a14:foregroundMark x1="67125" y1="43250" x2="69125" y2="34625"/>
                        <a14:foregroundMark x1="78750" y1="32500" x2="75250" y2="44500"/>
                        <a14:foregroundMark x1="75250" y1="44500" x2="79875" y2="36750"/>
                        <a14:foregroundMark x1="79875" y1="36750" x2="76875" y2="36375"/>
                        <a14:foregroundMark x1="78750" y1="46625" x2="80125" y2="55500"/>
                        <a14:foregroundMark x1="80125" y1="55500" x2="80750" y2="46125"/>
                        <a14:foregroundMark x1="80750" y1="46125" x2="77750" y2="45875"/>
                        <a14:foregroundMark x1="90375" y1="44000" x2="88750" y2="56375"/>
                        <a14:foregroundMark x1="45750" y1="10250" x2="57875" y2="11500"/>
                        <a14:foregroundMark x1="54125" y1="8875" x2="53500" y2="9125"/>
                        <a14:foregroundMark x1="49500" y1="90500" x2="54125" y2="89500"/>
                        <a14:foregroundMark x1="9625" y1="49625" x2="11000" y2="47125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3256" t="7288" r="7881" b="3666"/>
          <a:stretch>
            <a:fillRect/>
          </a:stretch>
        </p:blipFill>
        <p:spPr bwMode="auto">
          <a:xfrm>
            <a:off x="11238614" y="5890437"/>
            <a:ext cx="733648" cy="7351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Imagem 8">
            <a:extLst>
              <a:ext uri="{FF2B5EF4-FFF2-40B4-BE49-F238E27FC236}">
                <a16:creationId xmlns:a16="http://schemas.microsoft.com/office/drawing/2014/main" id="{A5D03F74-8246-7AF8-B27E-60BAE937FB1E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044373" y="2225358"/>
            <a:ext cx="1544443" cy="1544443"/>
          </a:xfrm>
          <a:prstGeom prst="ellipse">
            <a:avLst/>
          </a:prstGeom>
          <a:solidFill>
            <a:srgbClr val="FFFFFF"/>
          </a:solidFill>
          <a:effectLst>
            <a:glow rad="254000">
              <a:schemeClr val="bg1">
                <a:lumMod val="95000"/>
                <a:alpha val="40000"/>
              </a:schemeClr>
            </a:glow>
          </a:effectLst>
        </p:spPr>
      </p:pic>
      <p:pic>
        <p:nvPicPr>
          <p:cNvPr id="10" name="Imagem 9" descr="Logotipo, nome da empresa&#10;&#10;Descrição gerada automaticamente">
            <a:extLst>
              <a:ext uri="{FF2B5EF4-FFF2-40B4-BE49-F238E27FC236}">
                <a16:creationId xmlns:a16="http://schemas.microsoft.com/office/drawing/2014/main" id="{6DA2CF83-4335-9719-28FC-3171BD8E5753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781290" y="2225358"/>
            <a:ext cx="1401461" cy="1401461"/>
          </a:xfrm>
          <a:prstGeom prst="ellipse">
            <a:avLst/>
          </a:prstGeom>
          <a:solidFill>
            <a:srgbClr val="FFFFFF"/>
          </a:solidFill>
          <a:effectLst>
            <a:glow rad="254000">
              <a:schemeClr val="bg1">
                <a:lumMod val="95000"/>
                <a:alpha val="40000"/>
              </a:schemeClr>
            </a:glow>
          </a:effectLst>
        </p:spPr>
      </p:pic>
      <p:pic>
        <p:nvPicPr>
          <p:cNvPr id="11" name="Picture 4">
            <a:extLst>
              <a:ext uri="{FF2B5EF4-FFF2-40B4-BE49-F238E27FC236}">
                <a16:creationId xmlns:a16="http://schemas.microsoft.com/office/drawing/2014/main" id="{059D8F6D-78DE-49A2-77D6-0D8613007042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23190" b="-23190"/>
          <a:stretch/>
        </p:blipFill>
        <p:spPr bwMode="auto">
          <a:xfrm>
            <a:off x="2274416" y="2289205"/>
            <a:ext cx="1544443" cy="1544443"/>
          </a:xfrm>
          <a:prstGeom prst="ellipse">
            <a:avLst/>
          </a:prstGeom>
          <a:solidFill>
            <a:srgbClr val="FFFFFF"/>
          </a:solidFill>
          <a:effectLst>
            <a:glow rad="254000">
              <a:schemeClr val="bg1">
                <a:lumMod val="95000"/>
                <a:alpha val="40000"/>
              </a:schemeClr>
            </a:glow>
          </a:effectLst>
        </p:spPr>
      </p:pic>
      <p:sp>
        <p:nvSpPr>
          <p:cNvPr id="12" name="CaixaDeTexto 11">
            <a:extLst>
              <a:ext uri="{FF2B5EF4-FFF2-40B4-BE49-F238E27FC236}">
                <a16:creationId xmlns:a16="http://schemas.microsoft.com/office/drawing/2014/main" id="{8A70AFF9-D078-2D6C-86FE-39B3414221DC}"/>
              </a:ext>
            </a:extLst>
          </p:cNvPr>
          <p:cNvSpPr txBox="1"/>
          <p:nvPr/>
        </p:nvSpPr>
        <p:spPr>
          <a:xfrm>
            <a:off x="3664199" y="809664"/>
            <a:ext cx="4572000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 algn="ctr">
              <a:spcBef>
                <a:spcPts val="1200"/>
              </a:spcBef>
            </a:pPr>
            <a:r>
              <a:rPr lang="pt-BR" sz="2400" dirty="0">
                <a:solidFill>
                  <a:schemeClr val="bg2"/>
                </a:solidFill>
                <a:latin typeface="Segoe UI" panose="020B0502040204020203" pitchFamily="34" charset="0"/>
                <a:ea typeface="Quattrocento Sans"/>
                <a:cs typeface="Segoe UI" panose="020B0502040204020203" pitchFamily="34" charset="0"/>
                <a:sym typeface="Quattrocento Sans"/>
              </a:rPr>
              <a:t>Assistentes Virtuais!</a:t>
            </a:r>
          </a:p>
        </p:txBody>
      </p:sp>
      <p:pic>
        <p:nvPicPr>
          <p:cNvPr id="16" name="Picture 8" descr="Gemini em bancos de dados: assistente de IA para bancos de dados | Google  Cloud">
            <a:extLst>
              <a:ext uri="{FF2B5EF4-FFF2-40B4-BE49-F238E27FC236}">
                <a16:creationId xmlns:a16="http://schemas.microsoft.com/office/drawing/2014/main" id="{1C08C013-0FE0-31D1-5751-A1E68A3FE26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14741" y="4848180"/>
            <a:ext cx="2082992" cy="1287983"/>
          </a:xfrm>
          <a:prstGeom prst="round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10" descr="DeepSeek é o Sputnik da IA, diz o mercado em choque">
            <a:extLst>
              <a:ext uri="{FF2B5EF4-FFF2-40B4-BE49-F238E27FC236}">
                <a16:creationId xmlns:a16="http://schemas.microsoft.com/office/drawing/2014/main" id="{F0A7A7AD-8B0E-41C8-7725-DA282D5D59F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50170" y="5099898"/>
            <a:ext cx="1341272" cy="943082"/>
          </a:xfrm>
          <a:prstGeom prst="round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" name="Picture 12" descr="openai, chatgpt logotipo ícone 24558807 PNG">
            <a:extLst>
              <a:ext uri="{FF2B5EF4-FFF2-40B4-BE49-F238E27FC236}">
                <a16:creationId xmlns:a16="http://schemas.microsoft.com/office/drawing/2014/main" id="{58EE02D8-6363-6DA0-C4A7-5F88DB6CF61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96757" y="4877719"/>
            <a:ext cx="1085993" cy="1085993"/>
          </a:xfrm>
          <a:prstGeom prst="round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8186499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1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8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FCA8C88E-28E2-71D4-AE4F-768E36CE5C9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m 2" descr="Interface gráfica do usuário&#10;&#10;O conteúdo gerado por IA pode estar incorreto.">
            <a:extLst>
              <a:ext uri="{FF2B5EF4-FFF2-40B4-BE49-F238E27FC236}">
                <a16:creationId xmlns:a16="http://schemas.microsoft.com/office/drawing/2014/main" id="{2B9AFEF1-BD10-C2E7-7D6F-C8D6B67FE46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6447" y="248306"/>
            <a:ext cx="1371600" cy="561358"/>
          </a:xfrm>
          <a:prstGeom prst="rect">
            <a:avLst/>
          </a:prstGeom>
        </p:spPr>
      </p:pic>
      <p:pic>
        <p:nvPicPr>
          <p:cNvPr id="1026" name="Picture 2" descr="logo claro PNG &amp; clipart images | Citypng">
            <a:extLst>
              <a:ext uri="{FF2B5EF4-FFF2-40B4-BE49-F238E27FC236}">
                <a16:creationId xmlns:a16="http://schemas.microsoft.com/office/drawing/2014/main" id="{E008154F-E1C1-FB1E-0EAB-72749741D46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ackgroundRemoval t="8875" b="90500" l="9625" r="90375">
                        <a14:foregroundMark x1="35125" y1="42750" x2="35125" y2="42750"/>
                        <a14:foregroundMark x1="35250" y1="45125" x2="33750" y2="54125"/>
                        <a14:foregroundMark x1="33750" y1="54125" x2="41375" y2="48750"/>
                        <a14:foregroundMark x1="41375" y1="48750" x2="36875" y2="40375"/>
                        <a14:foregroundMark x1="36875" y1="40375" x2="31375" y2="43625"/>
                        <a14:foregroundMark x1="22000" y1="41875" x2="12375" y2="50500"/>
                        <a14:foregroundMark x1="12375" y1="50500" x2="25625" y2="62375"/>
                        <a14:foregroundMark x1="25625" y1="62375" x2="52750" y2="64125"/>
                        <a14:foregroundMark x1="52750" y1="64125" x2="73500" y2="62500"/>
                        <a14:foregroundMark x1="73500" y1="62500" x2="87375" y2="56375"/>
                        <a14:foregroundMark x1="87375" y1="56375" x2="87125" y2="45625"/>
                        <a14:foregroundMark x1="87125" y1="45625" x2="84625" y2="37625"/>
                        <a14:foregroundMark x1="84625" y1="37625" x2="76500" y2="32125"/>
                        <a14:foregroundMark x1="76500" y1="32125" x2="57500" y2="27250"/>
                        <a14:foregroundMark x1="57500" y1="27250" x2="20250" y2="28750"/>
                        <a14:foregroundMark x1="20250" y1="28750" x2="15750" y2="38375"/>
                        <a14:foregroundMark x1="15750" y1="38375" x2="12250" y2="41125"/>
                        <a14:foregroundMark x1="28375" y1="36125" x2="17625" y2="48125"/>
                        <a14:foregroundMark x1="17625" y1="48125" x2="23875" y2="57625"/>
                        <a14:foregroundMark x1="23875" y1="57625" x2="34500" y2="44000"/>
                        <a14:foregroundMark x1="34500" y1="44000" x2="21250" y2="39375"/>
                        <a14:foregroundMark x1="21250" y1="39375" x2="19250" y2="41250"/>
                        <a14:foregroundMark x1="26250" y1="40250" x2="27375" y2="52750"/>
                        <a14:foregroundMark x1="27375" y1="52750" x2="28875" y2="40125"/>
                        <a14:foregroundMark x1="28875" y1="40125" x2="18750" y2="45500"/>
                        <a14:foregroundMark x1="18750" y1="45500" x2="20750" y2="48625"/>
                        <a14:foregroundMark x1="26875" y1="40625" x2="27375" y2="58250"/>
                        <a14:foregroundMark x1="27375" y1="58250" x2="30625" y2="48375"/>
                        <a14:foregroundMark x1="30625" y1="48375" x2="20375" y2="51125"/>
                        <a14:foregroundMark x1="20375" y1="51125" x2="20375" y2="52375"/>
                        <a14:foregroundMark x1="19125" y1="42500" x2="25500" y2="55125"/>
                        <a14:foregroundMark x1="25500" y1="55125" x2="25125" y2="59500"/>
                        <a14:foregroundMark x1="22250" y1="56750" x2="21750" y2="58125"/>
                        <a14:foregroundMark x1="38500" y1="39875" x2="29750" y2="53250"/>
                        <a14:foregroundMark x1="29750" y1="53250" x2="34875" y2="62125"/>
                        <a14:foregroundMark x1="34875" y1="62125" x2="39750" y2="49375"/>
                        <a14:foregroundMark x1="39750" y1="49375" x2="36125" y2="43000"/>
                        <a14:foregroundMark x1="43375" y1="42375" x2="41000" y2="60750"/>
                        <a14:foregroundMark x1="41000" y1="60750" x2="51625" y2="47750"/>
                        <a14:foregroundMark x1="51625" y1="47750" x2="43375" y2="46875"/>
                        <a14:foregroundMark x1="43375" y1="46875" x2="41375" y2="48000"/>
                        <a14:foregroundMark x1="47125" y1="50750" x2="48375" y2="59000"/>
                        <a14:foregroundMark x1="48375" y1="59000" x2="45125" y2="53500"/>
                        <a14:foregroundMark x1="53625" y1="43250" x2="52125" y2="50125"/>
                        <a14:foregroundMark x1="52125" y1="50125" x2="54125" y2="58375"/>
                        <a14:foregroundMark x1="54125" y1="58375" x2="58125" y2="50500"/>
                        <a14:foregroundMark x1="58125" y1="50500" x2="53250" y2="45125"/>
                        <a14:foregroundMark x1="53250" y1="45125" x2="51500" y2="45375"/>
                        <a14:foregroundMark x1="58625" y1="42000" x2="59750" y2="52125"/>
                        <a14:foregroundMark x1="59750" y1="52125" x2="57750" y2="45000"/>
                        <a14:foregroundMark x1="63000" y1="45375" x2="61000" y2="62375"/>
                        <a14:foregroundMark x1="61000" y1="62375" x2="73375" y2="56375"/>
                        <a14:foregroundMark x1="73375" y1="56375" x2="72000" y2="45625"/>
                        <a14:foregroundMark x1="72000" y1="45625" x2="64375" y2="43500"/>
                        <a14:foregroundMark x1="64375" y1="43500" x2="61750" y2="33375"/>
                        <a14:foregroundMark x1="61750" y1="33375" x2="72625" y2="31250"/>
                        <a14:foregroundMark x1="72625" y1="31250" x2="67750" y2="44000"/>
                        <a14:foregroundMark x1="67750" y1="44000" x2="73125" y2="38125"/>
                        <a14:foregroundMark x1="73125" y1="38125" x2="81750" y2="37125"/>
                        <a14:foregroundMark x1="81750" y1="37125" x2="77625" y2="50250"/>
                        <a14:foregroundMark x1="77625" y1="50250" x2="81750" y2="52375"/>
                        <a14:foregroundMark x1="68875" y1="31750" x2="67125" y2="43250"/>
                        <a14:foregroundMark x1="67125" y1="43250" x2="69125" y2="34625"/>
                        <a14:foregroundMark x1="78750" y1="32500" x2="75250" y2="44500"/>
                        <a14:foregroundMark x1="75250" y1="44500" x2="79875" y2="36750"/>
                        <a14:foregroundMark x1="79875" y1="36750" x2="76875" y2="36375"/>
                        <a14:foregroundMark x1="78750" y1="46625" x2="80125" y2="55500"/>
                        <a14:foregroundMark x1="80125" y1="55500" x2="80750" y2="46125"/>
                        <a14:foregroundMark x1="80750" y1="46125" x2="77750" y2="45875"/>
                        <a14:foregroundMark x1="90375" y1="44000" x2="88750" y2="56375"/>
                        <a14:foregroundMark x1="45750" y1="10250" x2="57875" y2="11500"/>
                        <a14:foregroundMark x1="54125" y1="8875" x2="53500" y2="9125"/>
                        <a14:foregroundMark x1="49500" y1="90500" x2="54125" y2="89500"/>
                        <a14:foregroundMark x1="9625" y1="49625" x2="11000" y2="47125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3256" t="7288" r="7881" b="3666"/>
          <a:stretch>
            <a:fillRect/>
          </a:stretch>
        </p:blipFill>
        <p:spPr bwMode="auto">
          <a:xfrm>
            <a:off x="11238614" y="5890437"/>
            <a:ext cx="733648" cy="7351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Imagem 1" descr="Imagem em preto e branco de computador">
            <a:extLst>
              <a:ext uri="{FF2B5EF4-FFF2-40B4-BE49-F238E27FC236}">
                <a16:creationId xmlns:a16="http://schemas.microsoft.com/office/drawing/2014/main" id="{DB0FA340-1743-E08E-C162-27561E05AE29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0109" r="46517"/>
          <a:stretch/>
        </p:blipFill>
        <p:spPr>
          <a:xfrm>
            <a:off x="10728248" y="21957"/>
            <a:ext cx="1371601" cy="1152460"/>
          </a:xfrm>
          <a:prstGeom prst="rect">
            <a:avLst/>
          </a:prstGeom>
          <a:ln>
            <a:noFill/>
          </a:ln>
          <a:effectLst>
            <a:outerShdw blurRad="50800" dist="88900" dir="8100000" algn="tr" rotWithShape="0">
              <a:prstClr val="black">
                <a:alpha val="25000"/>
              </a:prstClr>
            </a:outerShdw>
          </a:effectLst>
        </p:spPr>
      </p:pic>
      <p:pic>
        <p:nvPicPr>
          <p:cNvPr id="4" name="Imagem 3" descr="Logotipo&#10;&#10;O conteúdo gerado por IA pode estar incorreto.">
            <a:extLst>
              <a:ext uri="{FF2B5EF4-FFF2-40B4-BE49-F238E27FC236}">
                <a16:creationId xmlns:a16="http://schemas.microsoft.com/office/drawing/2014/main" id="{1C4E1D59-CF1A-048D-930A-E650B961BC3C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76167" y="277459"/>
            <a:ext cx="2339162" cy="696413"/>
          </a:xfrm>
          <a:prstGeom prst="rect">
            <a:avLst/>
          </a:prstGeom>
        </p:spPr>
      </p:pic>
      <p:pic>
        <p:nvPicPr>
          <p:cNvPr id="7" name="Imagem 6" descr="Tela de computador com jogo&#10;&#10;O conteúdo gerado por IA pode estar incorreto.">
            <a:extLst>
              <a:ext uri="{FF2B5EF4-FFF2-40B4-BE49-F238E27FC236}">
                <a16:creationId xmlns:a16="http://schemas.microsoft.com/office/drawing/2014/main" id="{16AAA2FB-D2C7-CED3-1E27-928C16609D52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502" t="8078" r="13795" b="3972"/>
          <a:stretch>
            <a:fillRect/>
          </a:stretch>
        </p:blipFill>
        <p:spPr>
          <a:xfrm flipH="1">
            <a:off x="696901" y="1558597"/>
            <a:ext cx="5520684" cy="4252137"/>
          </a:xfrm>
          <a:prstGeom prst="roundRect">
            <a:avLst>
              <a:gd name="adj" fmla="val 10695"/>
            </a:avLst>
          </a:prstGeom>
        </p:spPr>
      </p:pic>
      <p:sp>
        <p:nvSpPr>
          <p:cNvPr id="10" name="CaixaDeTexto 9">
            <a:extLst>
              <a:ext uri="{FF2B5EF4-FFF2-40B4-BE49-F238E27FC236}">
                <a16:creationId xmlns:a16="http://schemas.microsoft.com/office/drawing/2014/main" id="{7A895041-6820-9577-6E2F-86CAB7245979}"/>
              </a:ext>
            </a:extLst>
          </p:cNvPr>
          <p:cNvSpPr txBox="1"/>
          <p:nvPr/>
        </p:nvSpPr>
        <p:spPr>
          <a:xfrm>
            <a:off x="4599539" y="1694372"/>
            <a:ext cx="6415790" cy="1077218"/>
          </a:xfrm>
          <a:prstGeom prst="rect">
            <a:avLst/>
          </a:prstGeom>
          <a:noFill/>
          <a:effectLst/>
        </p:spPr>
        <p:txBody>
          <a:bodyPr wrap="square">
            <a:spAutoFit/>
          </a:bodyPr>
          <a:lstStyle/>
          <a:p>
            <a:pPr algn="r"/>
            <a:r>
              <a:rPr lang="pt-BR" sz="4000" b="1" dirty="0">
                <a:solidFill>
                  <a:schemeClr val="bg1"/>
                </a:solidFill>
                <a:latin typeface="Candara" panose="020E0502030303020204" pitchFamily="34" charset="0"/>
              </a:rPr>
              <a:t>  </a:t>
            </a:r>
            <a:r>
              <a:rPr lang="pt-BR" sz="3600" b="1" dirty="0">
                <a:solidFill>
                  <a:schemeClr val="bg1"/>
                </a:solidFill>
                <a:latin typeface="Candara" panose="020E0502030303020204" pitchFamily="34" charset="0"/>
              </a:rPr>
              <a:t>Rapid Charge boost</a:t>
            </a:r>
          </a:p>
          <a:p>
            <a:pPr algn="r"/>
            <a:r>
              <a:rPr lang="pt-BR" sz="2400" b="1" dirty="0">
                <a:solidFill>
                  <a:schemeClr val="bg1"/>
                </a:solidFill>
                <a:latin typeface="Candara" panose="020E0502030303020204" pitchFamily="34" charset="0"/>
              </a:rPr>
              <a:t> </a:t>
            </a:r>
            <a:endParaRPr lang="pt-BR" sz="2400" dirty="0">
              <a:latin typeface="Candara" panose="020E0502030303020204" pitchFamily="34" charset="0"/>
            </a:endParaRPr>
          </a:p>
        </p:txBody>
      </p:sp>
      <p:sp>
        <p:nvSpPr>
          <p:cNvPr id="11" name="CaixaDeTexto 10">
            <a:extLst>
              <a:ext uri="{FF2B5EF4-FFF2-40B4-BE49-F238E27FC236}">
                <a16:creationId xmlns:a16="http://schemas.microsoft.com/office/drawing/2014/main" id="{A80981CB-0FC3-25BB-4E11-E2D741F8C4EA}"/>
              </a:ext>
            </a:extLst>
          </p:cNvPr>
          <p:cNvSpPr txBox="1"/>
          <p:nvPr/>
        </p:nvSpPr>
        <p:spPr>
          <a:xfrm>
            <a:off x="6877544" y="3291545"/>
            <a:ext cx="4253614" cy="1446550"/>
          </a:xfrm>
          <a:prstGeom prst="rect">
            <a:avLst/>
          </a:prstGeom>
          <a:noFill/>
          <a:effectLst>
            <a:outerShdw blurRad="50800" dist="38100" dir="10800000" algn="r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pPr algn="r"/>
            <a:r>
              <a:rPr lang="pt-BR" sz="3200" b="1" dirty="0">
                <a:solidFill>
                  <a:schemeClr val="bg1"/>
                </a:solidFill>
                <a:latin typeface="Candara" panose="020E0502030303020204" pitchFamily="34" charset="0"/>
              </a:rPr>
              <a:t>Até 2h de uso em </a:t>
            </a:r>
          </a:p>
          <a:p>
            <a:pPr algn="r"/>
            <a:r>
              <a:rPr lang="pt-BR" sz="3200" b="1" dirty="0">
                <a:solidFill>
                  <a:schemeClr val="bg1"/>
                </a:solidFill>
                <a:latin typeface="Candara" panose="020E0502030303020204" pitchFamily="34" charset="0"/>
              </a:rPr>
              <a:t>Apenas 15 minutos</a:t>
            </a:r>
          </a:p>
          <a:p>
            <a:pPr algn="r"/>
            <a:r>
              <a:rPr lang="pt-BR" sz="2400" b="1" dirty="0">
                <a:solidFill>
                  <a:schemeClr val="bg1"/>
                </a:solidFill>
                <a:latin typeface="Candara" panose="020E0502030303020204" pitchFamily="34" charset="0"/>
              </a:rPr>
              <a:t> </a:t>
            </a:r>
            <a:endParaRPr lang="pt-BR" sz="2400" dirty="0">
              <a:latin typeface="Candara" panose="020E0502030303020204" pitchFamily="34" charset="0"/>
            </a:endParaRPr>
          </a:p>
        </p:txBody>
      </p:sp>
      <p:grpSp>
        <p:nvGrpSpPr>
          <p:cNvPr id="14" name="Agrupar 13">
            <a:extLst>
              <a:ext uri="{FF2B5EF4-FFF2-40B4-BE49-F238E27FC236}">
                <a16:creationId xmlns:a16="http://schemas.microsoft.com/office/drawing/2014/main" id="{0C070E1E-D298-4EE6-F8BE-5D4D93377138}"/>
              </a:ext>
            </a:extLst>
          </p:cNvPr>
          <p:cNvGrpSpPr/>
          <p:nvPr/>
        </p:nvGrpSpPr>
        <p:grpSpPr>
          <a:xfrm>
            <a:off x="11131158" y="1694372"/>
            <a:ext cx="725283" cy="707821"/>
            <a:chOff x="178780" y="1558597"/>
            <a:chExt cx="725283" cy="707821"/>
          </a:xfrm>
        </p:grpSpPr>
        <p:sp>
          <p:nvSpPr>
            <p:cNvPr id="12" name="Elipse 11">
              <a:extLst>
                <a:ext uri="{FF2B5EF4-FFF2-40B4-BE49-F238E27FC236}">
                  <a16:creationId xmlns:a16="http://schemas.microsoft.com/office/drawing/2014/main" id="{AED0BBEF-00F6-460F-5FF4-B31D32B4988B}"/>
                </a:ext>
              </a:extLst>
            </p:cNvPr>
            <p:cNvSpPr/>
            <p:nvPr/>
          </p:nvSpPr>
          <p:spPr>
            <a:xfrm>
              <a:off x="178780" y="1558597"/>
              <a:ext cx="725283" cy="707821"/>
            </a:xfrm>
            <a:prstGeom prst="ellipse">
              <a:avLst/>
            </a:prstGeom>
            <a:noFill/>
            <a:ln w="28575">
              <a:solidFill>
                <a:schemeClr val="bg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r"/>
              <a:endParaRPr lang="pt-BR" dirty="0">
                <a:latin typeface="Candara" panose="020E0502030303020204" pitchFamily="34" charset="0"/>
              </a:endParaRPr>
            </a:p>
          </p:txBody>
        </p:sp>
        <p:pic>
          <p:nvPicPr>
            <p:cNvPr id="13" name="Imagem 12" descr="Desenho de uma mão&#10;&#10;Descrição gerada automaticamente com confiança baixa">
              <a:extLst>
                <a:ext uri="{FF2B5EF4-FFF2-40B4-BE49-F238E27FC236}">
                  <a16:creationId xmlns:a16="http://schemas.microsoft.com/office/drawing/2014/main" id="{909580EA-96FA-D893-1F39-2C4B80892F34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82600" y="1634797"/>
              <a:ext cx="284222" cy="51629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09749750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/>
    </p:bld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8C1969D6-6760-9ED1-910D-4F441944046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m 2" descr="Interface gráfica do usuário&#10;&#10;O conteúdo gerado por IA pode estar incorreto.">
            <a:extLst>
              <a:ext uri="{FF2B5EF4-FFF2-40B4-BE49-F238E27FC236}">
                <a16:creationId xmlns:a16="http://schemas.microsoft.com/office/drawing/2014/main" id="{EE0B3A28-543F-0CB9-A11E-EC8E92456BC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6447" y="248306"/>
            <a:ext cx="1371600" cy="561358"/>
          </a:xfrm>
          <a:prstGeom prst="rect">
            <a:avLst/>
          </a:prstGeom>
        </p:spPr>
      </p:pic>
      <p:pic>
        <p:nvPicPr>
          <p:cNvPr id="1026" name="Picture 2" descr="logo claro PNG &amp; clipart images | Citypng">
            <a:extLst>
              <a:ext uri="{FF2B5EF4-FFF2-40B4-BE49-F238E27FC236}">
                <a16:creationId xmlns:a16="http://schemas.microsoft.com/office/drawing/2014/main" id="{2A9CAEC8-9F5A-B807-DF7F-2F58A20EFDB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ackgroundRemoval t="8875" b="90500" l="9625" r="90375">
                        <a14:foregroundMark x1="35125" y1="42750" x2="35125" y2="42750"/>
                        <a14:foregroundMark x1="35250" y1="45125" x2="33750" y2="54125"/>
                        <a14:foregroundMark x1="33750" y1="54125" x2="41375" y2="48750"/>
                        <a14:foregroundMark x1="41375" y1="48750" x2="36875" y2="40375"/>
                        <a14:foregroundMark x1="36875" y1="40375" x2="31375" y2="43625"/>
                        <a14:foregroundMark x1="22000" y1="41875" x2="12375" y2="50500"/>
                        <a14:foregroundMark x1="12375" y1="50500" x2="25625" y2="62375"/>
                        <a14:foregroundMark x1="25625" y1="62375" x2="52750" y2="64125"/>
                        <a14:foregroundMark x1="52750" y1="64125" x2="73500" y2="62500"/>
                        <a14:foregroundMark x1="73500" y1="62500" x2="87375" y2="56375"/>
                        <a14:foregroundMark x1="87375" y1="56375" x2="87125" y2="45625"/>
                        <a14:foregroundMark x1="87125" y1="45625" x2="84625" y2="37625"/>
                        <a14:foregroundMark x1="84625" y1="37625" x2="76500" y2="32125"/>
                        <a14:foregroundMark x1="76500" y1="32125" x2="57500" y2="27250"/>
                        <a14:foregroundMark x1="57500" y1="27250" x2="20250" y2="28750"/>
                        <a14:foregroundMark x1="20250" y1="28750" x2="15750" y2="38375"/>
                        <a14:foregroundMark x1="15750" y1="38375" x2="12250" y2="41125"/>
                        <a14:foregroundMark x1="28375" y1="36125" x2="17625" y2="48125"/>
                        <a14:foregroundMark x1="17625" y1="48125" x2="23875" y2="57625"/>
                        <a14:foregroundMark x1="23875" y1="57625" x2="34500" y2="44000"/>
                        <a14:foregroundMark x1="34500" y1="44000" x2="21250" y2="39375"/>
                        <a14:foregroundMark x1="21250" y1="39375" x2="19250" y2="41250"/>
                        <a14:foregroundMark x1="26250" y1="40250" x2="27375" y2="52750"/>
                        <a14:foregroundMark x1="27375" y1="52750" x2="28875" y2="40125"/>
                        <a14:foregroundMark x1="28875" y1="40125" x2="18750" y2="45500"/>
                        <a14:foregroundMark x1="18750" y1="45500" x2="20750" y2="48625"/>
                        <a14:foregroundMark x1="26875" y1="40625" x2="27375" y2="58250"/>
                        <a14:foregroundMark x1="27375" y1="58250" x2="30625" y2="48375"/>
                        <a14:foregroundMark x1="30625" y1="48375" x2="20375" y2="51125"/>
                        <a14:foregroundMark x1="20375" y1="51125" x2="20375" y2="52375"/>
                        <a14:foregroundMark x1="19125" y1="42500" x2="25500" y2="55125"/>
                        <a14:foregroundMark x1="25500" y1="55125" x2="25125" y2="59500"/>
                        <a14:foregroundMark x1="22250" y1="56750" x2="21750" y2="58125"/>
                        <a14:foregroundMark x1="38500" y1="39875" x2="29750" y2="53250"/>
                        <a14:foregroundMark x1="29750" y1="53250" x2="34875" y2="62125"/>
                        <a14:foregroundMark x1="34875" y1="62125" x2="39750" y2="49375"/>
                        <a14:foregroundMark x1="39750" y1="49375" x2="36125" y2="43000"/>
                        <a14:foregroundMark x1="43375" y1="42375" x2="41000" y2="60750"/>
                        <a14:foregroundMark x1="41000" y1="60750" x2="51625" y2="47750"/>
                        <a14:foregroundMark x1="51625" y1="47750" x2="43375" y2="46875"/>
                        <a14:foregroundMark x1="43375" y1="46875" x2="41375" y2="48000"/>
                        <a14:foregroundMark x1="47125" y1="50750" x2="48375" y2="59000"/>
                        <a14:foregroundMark x1="48375" y1="59000" x2="45125" y2="53500"/>
                        <a14:foregroundMark x1="53625" y1="43250" x2="52125" y2="50125"/>
                        <a14:foregroundMark x1="52125" y1="50125" x2="54125" y2="58375"/>
                        <a14:foregroundMark x1="54125" y1="58375" x2="58125" y2="50500"/>
                        <a14:foregroundMark x1="58125" y1="50500" x2="53250" y2="45125"/>
                        <a14:foregroundMark x1="53250" y1="45125" x2="51500" y2="45375"/>
                        <a14:foregroundMark x1="58625" y1="42000" x2="59750" y2="52125"/>
                        <a14:foregroundMark x1="59750" y1="52125" x2="57750" y2="45000"/>
                        <a14:foregroundMark x1="63000" y1="45375" x2="61000" y2="62375"/>
                        <a14:foregroundMark x1="61000" y1="62375" x2="73375" y2="56375"/>
                        <a14:foregroundMark x1="73375" y1="56375" x2="72000" y2="45625"/>
                        <a14:foregroundMark x1="72000" y1="45625" x2="64375" y2="43500"/>
                        <a14:foregroundMark x1="64375" y1="43500" x2="61750" y2="33375"/>
                        <a14:foregroundMark x1="61750" y1="33375" x2="72625" y2="31250"/>
                        <a14:foregroundMark x1="72625" y1="31250" x2="67750" y2="44000"/>
                        <a14:foregroundMark x1="67750" y1="44000" x2="73125" y2="38125"/>
                        <a14:foregroundMark x1="73125" y1="38125" x2="81750" y2="37125"/>
                        <a14:foregroundMark x1="81750" y1="37125" x2="77625" y2="50250"/>
                        <a14:foregroundMark x1="77625" y1="50250" x2="81750" y2="52375"/>
                        <a14:foregroundMark x1="68875" y1="31750" x2="67125" y2="43250"/>
                        <a14:foregroundMark x1="67125" y1="43250" x2="69125" y2="34625"/>
                        <a14:foregroundMark x1="78750" y1="32500" x2="75250" y2="44500"/>
                        <a14:foregroundMark x1="75250" y1="44500" x2="79875" y2="36750"/>
                        <a14:foregroundMark x1="79875" y1="36750" x2="76875" y2="36375"/>
                        <a14:foregroundMark x1="78750" y1="46625" x2="80125" y2="55500"/>
                        <a14:foregroundMark x1="80125" y1="55500" x2="80750" y2="46125"/>
                        <a14:foregroundMark x1="80750" y1="46125" x2="77750" y2="45875"/>
                        <a14:foregroundMark x1="90375" y1="44000" x2="88750" y2="56375"/>
                        <a14:foregroundMark x1="45750" y1="10250" x2="57875" y2="11500"/>
                        <a14:foregroundMark x1="54125" y1="8875" x2="53500" y2="9125"/>
                        <a14:foregroundMark x1="49500" y1="90500" x2="54125" y2="89500"/>
                        <a14:foregroundMark x1="9625" y1="49625" x2="11000" y2="47125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3256" t="7288" r="7881" b="3666"/>
          <a:stretch>
            <a:fillRect/>
          </a:stretch>
        </p:blipFill>
        <p:spPr bwMode="auto">
          <a:xfrm>
            <a:off x="11238614" y="5890437"/>
            <a:ext cx="733648" cy="7351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Imagem 1" descr="Imagem em preto e branco de computador">
            <a:extLst>
              <a:ext uri="{FF2B5EF4-FFF2-40B4-BE49-F238E27FC236}">
                <a16:creationId xmlns:a16="http://schemas.microsoft.com/office/drawing/2014/main" id="{C730F7B4-B7CA-C270-75BE-D7600A1F05D8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0109" r="46517"/>
          <a:stretch/>
        </p:blipFill>
        <p:spPr>
          <a:xfrm>
            <a:off x="10728248" y="21957"/>
            <a:ext cx="1371601" cy="1152460"/>
          </a:xfrm>
          <a:prstGeom prst="rect">
            <a:avLst/>
          </a:prstGeom>
          <a:ln>
            <a:noFill/>
          </a:ln>
          <a:effectLst>
            <a:outerShdw blurRad="50800" dist="88900" dir="8100000" algn="tr" rotWithShape="0">
              <a:prstClr val="black">
                <a:alpha val="25000"/>
              </a:prstClr>
            </a:outerShdw>
          </a:effectLst>
        </p:spPr>
      </p:pic>
      <p:pic>
        <p:nvPicPr>
          <p:cNvPr id="4" name="Imagem 3" descr="Logotipo&#10;&#10;O conteúdo gerado por IA pode estar incorreto.">
            <a:extLst>
              <a:ext uri="{FF2B5EF4-FFF2-40B4-BE49-F238E27FC236}">
                <a16:creationId xmlns:a16="http://schemas.microsoft.com/office/drawing/2014/main" id="{05BC1D4D-39F8-D409-B95B-CED883C11479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76167" y="277459"/>
            <a:ext cx="2339162" cy="696413"/>
          </a:xfrm>
          <a:prstGeom prst="rect">
            <a:avLst/>
          </a:prstGeom>
        </p:spPr>
      </p:pic>
      <p:pic>
        <p:nvPicPr>
          <p:cNvPr id="5" name="Imagem 4" descr="Tela de um aparelho eletrônico&#10;&#10;O conteúdo gerado por IA pode estar incorreto.">
            <a:extLst>
              <a:ext uri="{FF2B5EF4-FFF2-40B4-BE49-F238E27FC236}">
                <a16:creationId xmlns:a16="http://schemas.microsoft.com/office/drawing/2014/main" id="{74F6FD40-4969-F793-07E7-E511398F7FE9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69000" y="1279402"/>
            <a:ext cx="8594309" cy="2673959"/>
          </a:xfrm>
          <a:prstGeom prst="rect">
            <a:avLst/>
          </a:prstGeo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  <p:sp>
        <p:nvSpPr>
          <p:cNvPr id="6" name="Elipse 5">
            <a:extLst>
              <a:ext uri="{FF2B5EF4-FFF2-40B4-BE49-F238E27FC236}">
                <a16:creationId xmlns:a16="http://schemas.microsoft.com/office/drawing/2014/main" id="{4C29E621-7B83-0B46-1B73-E1A292F6AE46}"/>
              </a:ext>
            </a:extLst>
          </p:cNvPr>
          <p:cNvSpPr/>
          <p:nvPr/>
        </p:nvSpPr>
        <p:spPr>
          <a:xfrm>
            <a:off x="2534629" y="2365482"/>
            <a:ext cx="370796" cy="386389"/>
          </a:xfrm>
          <a:prstGeom prst="ellipse">
            <a:avLst/>
          </a:prstGeom>
          <a:noFill/>
          <a:ln w="28575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>
              <a:solidFill>
                <a:schemeClr val="bg1"/>
              </a:solidFill>
              <a:latin typeface="Candara" panose="020E0502030303020204" pitchFamily="34" charset="0"/>
            </a:endParaRPr>
          </a:p>
        </p:txBody>
      </p:sp>
      <p:sp>
        <p:nvSpPr>
          <p:cNvPr id="8" name="CaixaDeTexto 7">
            <a:extLst>
              <a:ext uri="{FF2B5EF4-FFF2-40B4-BE49-F238E27FC236}">
                <a16:creationId xmlns:a16="http://schemas.microsoft.com/office/drawing/2014/main" id="{0B0913F9-84EE-0558-8A93-43737A2FAFFC}"/>
              </a:ext>
            </a:extLst>
          </p:cNvPr>
          <p:cNvSpPr txBox="1"/>
          <p:nvPr/>
        </p:nvSpPr>
        <p:spPr>
          <a:xfrm>
            <a:off x="2578841" y="2386815"/>
            <a:ext cx="370796" cy="507831"/>
          </a:xfrm>
          <a:prstGeom prst="rect">
            <a:avLst/>
          </a:prstGeom>
          <a:noFill/>
          <a:effectLst/>
        </p:spPr>
        <p:txBody>
          <a:bodyPr wrap="square">
            <a:spAutoFit/>
          </a:bodyPr>
          <a:lstStyle/>
          <a:p>
            <a:r>
              <a:rPr lang="pt-BR" sz="1600" b="1" dirty="0">
                <a:solidFill>
                  <a:schemeClr val="bg1"/>
                </a:solidFill>
                <a:latin typeface="Candara" panose="020E0502030303020204" pitchFamily="34" charset="0"/>
              </a:rPr>
              <a:t>1</a:t>
            </a:r>
          </a:p>
          <a:p>
            <a:r>
              <a:rPr lang="pt-BR" sz="1100" b="1" dirty="0">
                <a:latin typeface="Candara" panose="020E0502030303020204" pitchFamily="34" charset="0"/>
              </a:rPr>
              <a:t> </a:t>
            </a:r>
            <a:endParaRPr lang="pt-BR" sz="1100" dirty="0">
              <a:latin typeface="Candara" panose="020E0502030303020204" pitchFamily="34" charset="0"/>
            </a:endParaRPr>
          </a:p>
        </p:txBody>
      </p:sp>
      <p:sp>
        <p:nvSpPr>
          <p:cNvPr id="9" name="Elipse 8">
            <a:extLst>
              <a:ext uri="{FF2B5EF4-FFF2-40B4-BE49-F238E27FC236}">
                <a16:creationId xmlns:a16="http://schemas.microsoft.com/office/drawing/2014/main" id="{12E28233-B67D-2B1A-900F-33E7572EB73F}"/>
              </a:ext>
            </a:extLst>
          </p:cNvPr>
          <p:cNvSpPr/>
          <p:nvPr/>
        </p:nvSpPr>
        <p:spPr>
          <a:xfrm>
            <a:off x="3139345" y="2369835"/>
            <a:ext cx="370796" cy="386389"/>
          </a:xfrm>
          <a:prstGeom prst="ellipse">
            <a:avLst/>
          </a:prstGeom>
          <a:noFill/>
          <a:ln w="28575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>
              <a:solidFill>
                <a:schemeClr val="bg1"/>
              </a:solidFill>
              <a:latin typeface="Candara" panose="020E0502030303020204" pitchFamily="34" charset="0"/>
            </a:endParaRPr>
          </a:p>
        </p:txBody>
      </p:sp>
      <p:sp>
        <p:nvSpPr>
          <p:cNvPr id="15" name="CaixaDeTexto 14">
            <a:extLst>
              <a:ext uri="{FF2B5EF4-FFF2-40B4-BE49-F238E27FC236}">
                <a16:creationId xmlns:a16="http://schemas.microsoft.com/office/drawing/2014/main" id="{ECA4E791-CD8A-D52D-D722-2930D9A38330}"/>
              </a:ext>
            </a:extLst>
          </p:cNvPr>
          <p:cNvSpPr txBox="1"/>
          <p:nvPr/>
        </p:nvSpPr>
        <p:spPr>
          <a:xfrm>
            <a:off x="3183557" y="2378105"/>
            <a:ext cx="370796" cy="507831"/>
          </a:xfrm>
          <a:prstGeom prst="rect">
            <a:avLst/>
          </a:prstGeom>
          <a:noFill/>
          <a:effectLst/>
        </p:spPr>
        <p:txBody>
          <a:bodyPr wrap="square">
            <a:spAutoFit/>
          </a:bodyPr>
          <a:lstStyle/>
          <a:p>
            <a:r>
              <a:rPr lang="pt-BR" sz="1600" b="1" dirty="0">
                <a:solidFill>
                  <a:schemeClr val="bg1"/>
                </a:solidFill>
                <a:latin typeface="Candara" panose="020E0502030303020204" pitchFamily="34" charset="0"/>
              </a:rPr>
              <a:t>2</a:t>
            </a:r>
          </a:p>
          <a:p>
            <a:r>
              <a:rPr lang="pt-BR" sz="1100" b="1" dirty="0">
                <a:latin typeface="Candara" panose="020E0502030303020204" pitchFamily="34" charset="0"/>
              </a:rPr>
              <a:t> </a:t>
            </a:r>
            <a:endParaRPr lang="pt-BR" sz="1100" dirty="0">
              <a:latin typeface="Candara" panose="020E0502030303020204" pitchFamily="34" charset="0"/>
            </a:endParaRPr>
          </a:p>
        </p:txBody>
      </p:sp>
      <p:sp>
        <p:nvSpPr>
          <p:cNvPr id="16" name="Elipse 15">
            <a:extLst>
              <a:ext uri="{FF2B5EF4-FFF2-40B4-BE49-F238E27FC236}">
                <a16:creationId xmlns:a16="http://schemas.microsoft.com/office/drawing/2014/main" id="{DDB89D58-9220-16E5-35CE-0F53DB03B8B5}"/>
              </a:ext>
            </a:extLst>
          </p:cNvPr>
          <p:cNvSpPr/>
          <p:nvPr/>
        </p:nvSpPr>
        <p:spPr>
          <a:xfrm>
            <a:off x="3725975" y="2365415"/>
            <a:ext cx="370796" cy="386389"/>
          </a:xfrm>
          <a:prstGeom prst="ellipse">
            <a:avLst/>
          </a:prstGeom>
          <a:noFill/>
          <a:ln w="28575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>
              <a:solidFill>
                <a:schemeClr val="bg1"/>
              </a:solidFill>
              <a:latin typeface="Candara" panose="020E0502030303020204" pitchFamily="34" charset="0"/>
            </a:endParaRPr>
          </a:p>
        </p:txBody>
      </p:sp>
      <p:sp>
        <p:nvSpPr>
          <p:cNvPr id="17" name="CaixaDeTexto 16">
            <a:extLst>
              <a:ext uri="{FF2B5EF4-FFF2-40B4-BE49-F238E27FC236}">
                <a16:creationId xmlns:a16="http://schemas.microsoft.com/office/drawing/2014/main" id="{733B9C41-2A83-E8C2-46A2-A41C6A1351C5}"/>
              </a:ext>
            </a:extLst>
          </p:cNvPr>
          <p:cNvSpPr txBox="1"/>
          <p:nvPr/>
        </p:nvSpPr>
        <p:spPr>
          <a:xfrm>
            <a:off x="3769098" y="2386814"/>
            <a:ext cx="370796" cy="507831"/>
          </a:xfrm>
          <a:prstGeom prst="rect">
            <a:avLst/>
          </a:prstGeom>
          <a:noFill/>
          <a:effectLst/>
        </p:spPr>
        <p:txBody>
          <a:bodyPr wrap="square">
            <a:spAutoFit/>
          </a:bodyPr>
          <a:lstStyle/>
          <a:p>
            <a:r>
              <a:rPr lang="pt-BR" sz="1600" b="1" dirty="0">
                <a:solidFill>
                  <a:schemeClr val="bg1"/>
                </a:solidFill>
                <a:latin typeface="Candara" panose="020E0502030303020204" pitchFamily="34" charset="0"/>
              </a:rPr>
              <a:t>3</a:t>
            </a:r>
          </a:p>
          <a:p>
            <a:r>
              <a:rPr lang="pt-BR" sz="1100" b="1" dirty="0">
                <a:latin typeface="Candara" panose="020E0502030303020204" pitchFamily="34" charset="0"/>
              </a:rPr>
              <a:t> </a:t>
            </a:r>
            <a:endParaRPr lang="pt-BR" sz="1100" dirty="0">
              <a:latin typeface="Candara" panose="020E0502030303020204" pitchFamily="34" charset="0"/>
            </a:endParaRPr>
          </a:p>
        </p:txBody>
      </p:sp>
      <p:sp>
        <p:nvSpPr>
          <p:cNvPr id="18" name="Elipse 17">
            <a:extLst>
              <a:ext uri="{FF2B5EF4-FFF2-40B4-BE49-F238E27FC236}">
                <a16:creationId xmlns:a16="http://schemas.microsoft.com/office/drawing/2014/main" id="{2FC34EA6-4A23-87B5-8B7D-89082DAE2330}"/>
              </a:ext>
            </a:extLst>
          </p:cNvPr>
          <p:cNvSpPr/>
          <p:nvPr/>
        </p:nvSpPr>
        <p:spPr>
          <a:xfrm>
            <a:off x="4265376" y="2365482"/>
            <a:ext cx="370796" cy="386389"/>
          </a:xfrm>
          <a:prstGeom prst="ellipse">
            <a:avLst/>
          </a:prstGeom>
          <a:noFill/>
          <a:ln w="28575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>
              <a:solidFill>
                <a:schemeClr val="bg1"/>
              </a:solidFill>
              <a:latin typeface="Candara" panose="020E0502030303020204" pitchFamily="34" charset="0"/>
            </a:endParaRPr>
          </a:p>
        </p:txBody>
      </p:sp>
      <p:sp>
        <p:nvSpPr>
          <p:cNvPr id="19" name="CaixaDeTexto 18">
            <a:extLst>
              <a:ext uri="{FF2B5EF4-FFF2-40B4-BE49-F238E27FC236}">
                <a16:creationId xmlns:a16="http://schemas.microsoft.com/office/drawing/2014/main" id="{5D17EA5B-6617-B46B-35F8-45633AFB36EE}"/>
              </a:ext>
            </a:extLst>
          </p:cNvPr>
          <p:cNvSpPr txBox="1"/>
          <p:nvPr/>
        </p:nvSpPr>
        <p:spPr>
          <a:xfrm>
            <a:off x="4293214" y="2373751"/>
            <a:ext cx="370796" cy="507831"/>
          </a:xfrm>
          <a:prstGeom prst="rect">
            <a:avLst/>
          </a:prstGeom>
          <a:noFill/>
          <a:effectLst/>
        </p:spPr>
        <p:txBody>
          <a:bodyPr wrap="square">
            <a:spAutoFit/>
          </a:bodyPr>
          <a:lstStyle/>
          <a:p>
            <a:r>
              <a:rPr lang="pt-BR" sz="1600" b="1" dirty="0">
                <a:solidFill>
                  <a:schemeClr val="bg1"/>
                </a:solidFill>
                <a:latin typeface="Candara" panose="020E0502030303020204" pitchFamily="34" charset="0"/>
              </a:rPr>
              <a:t>4</a:t>
            </a:r>
          </a:p>
          <a:p>
            <a:r>
              <a:rPr lang="pt-BR" sz="1100" b="1" dirty="0">
                <a:latin typeface="Candara" panose="020E0502030303020204" pitchFamily="34" charset="0"/>
              </a:rPr>
              <a:t> </a:t>
            </a:r>
            <a:endParaRPr lang="pt-BR" sz="1100" dirty="0">
              <a:latin typeface="Candara" panose="020E0502030303020204" pitchFamily="34" charset="0"/>
            </a:endParaRPr>
          </a:p>
        </p:txBody>
      </p:sp>
      <p:sp>
        <p:nvSpPr>
          <p:cNvPr id="20" name="Elipse 19">
            <a:extLst>
              <a:ext uri="{FF2B5EF4-FFF2-40B4-BE49-F238E27FC236}">
                <a16:creationId xmlns:a16="http://schemas.microsoft.com/office/drawing/2014/main" id="{9E4ABCAF-629A-B039-8300-0053086DF7CD}"/>
              </a:ext>
            </a:extLst>
          </p:cNvPr>
          <p:cNvSpPr/>
          <p:nvPr/>
        </p:nvSpPr>
        <p:spPr>
          <a:xfrm>
            <a:off x="4754101" y="2373685"/>
            <a:ext cx="370796" cy="386389"/>
          </a:xfrm>
          <a:prstGeom prst="ellipse">
            <a:avLst/>
          </a:prstGeom>
          <a:noFill/>
          <a:ln w="28575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>
              <a:solidFill>
                <a:schemeClr val="bg1"/>
              </a:solidFill>
              <a:latin typeface="Candara" panose="020E0502030303020204" pitchFamily="34" charset="0"/>
            </a:endParaRPr>
          </a:p>
        </p:txBody>
      </p:sp>
      <p:sp>
        <p:nvSpPr>
          <p:cNvPr id="21" name="CaixaDeTexto 20">
            <a:extLst>
              <a:ext uri="{FF2B5EF4-FFF2-40B4-BE49-F238E27FC236}">
                <a16:creationId xmlns:a16="http://schemas.microsoft.com/office/drawing/2014/main" id="{5020B701-F475-A6C8-63C1-1052CB9040C6}"/>
              </a:ext>
            </a:extLst>
          </p:cNvPr>
          <p:cNvSpPr txBox="1"/>
          <p:nvPr/>
        </p:nvSpPr>
        <p:spPr>
          <a:xfrm>
            <a:off x="4798313" y="2381955"/>
            <a:ext cx="370796" cy="507831"/>
          </a:xfrm>
          <a:prstGeom prst="rect">
            <a:avLst/>
          </a:prstGeom>
          <a:noFill/>
          <a:effectLst/>
        </p:spPr>
        <p:txBody>
          <a:bodyPr wrap="square">
            <a:spAutoFit/>
          </a:bodyPr>
          <a:lstStyle/>
          <a:p>
            <a:r>
              <a:rPr lang="pt-BR" sz="1600" b="1" dirty="0">
                <a:solidFill>
                  <a:schemeClr val="bg1"/>
                </a:solidFill>
                <a:latin typeface="Candara" panose="020E0502030303020204" pitchFamily="34" charset="0"/>
              </a:rPr>
              <a:t>5</a:t>
            </a:r>
          </a:p>
          <a:p>
            <a:r>
              <a:rPr lang="pt-BR" sz="1100" b="1" dirty="0">
                <a:latin typeface="Candara" panose="020E0502030303020204" pitchFamily="34" charset="0"/>
              </a:rPr>
              <a:t> </a:t>
            </a:r>
            <a:endParaRPr lang="pt-BR" sz="1100" dirty="0">
              <a:latin typeface="Candara" panose="020E0502030303020204" pitchFamily="34" charset="0"/>
            </a:endParaRPr>
          </a:p>
        </p:txBody>
      </p:sp>
      <p:cxnSp>
        <p:nvCxnSpPr>
          <p:cNvPr id="22" name="Conector reto 21">
            <a:extLst>
              <a:ext uri="{FF2B5EF4-FFF2-40B4-BE49-F238E27FC236}">
                <a16:creationId xmlns:a16="http://schemas.microsoft.com/office/drawing/2014/main" id="{4A92C16F-1DF9-1FA0-9526-5E3F089C497B}"/>
              </a:ext>
            </a:extLst>
          </p:cNvPr>
          <p:cNvCxnSpPr>
            <a:cxnSpLocks/>
            <a:endCxn id="6" idx="0"/>
          </p:cNvCxnSpPr>
          <p:nvPr/>
        </p:nvCxnSpPr>
        <p:spPr>
          <a:xfrm>
            <a:off x="2720027" y="1679388"/>
            <a:ext cx="0" cy="686094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3" name="Conector reto 22">
            <a:extLst>
              <a:ext uri="{FF2B5EF4-FFF2-40B4-BE49-F238E27FC236}">
                <a16:creationId xmlns:a16="http://schemas.microsoft.com/office/drawing/2014/main" id="{8EA72927-4066-D131-C1D3-4004D970C7EC}"/>
              </a:ext>
            </a:extLst>
          </p:cNvPr>
          <p:cNvCxnSpPr>
            <a:cxnSpLocks/>
          </p:cNvCxnSpPr>
          <p:nvPr/>
        </p:nvCxnSpPr>
        <p:spPr>
          <a:xfrm>
            <a:off x="3322487" y="1679321"/>
            <a:ext cx="0" cy="686094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4" name="Conector reto 23">
            <a:extLst>
              <a:ext uri="{FF2B5EF4-FFF2-40B4-BE49-F238E27FC236}">
                <a16:creationId xmlns:a16="http://schemas.microsoft.com/office/drawing/2014/main" id="{6099410D-2E73-2992-B6B3-281C088101BB}"/>
              </a:ext>
            </a:extLst>
          </p:cNvPr>
          <p:cNvCxnSpPr>
            <a:cxnSpLocks/>
          </p:cNvCxnSpPr>
          <p:nvPr/>
        </p:nvCxnSpPr>
        <p:spPr>
          <a:xfrm>
            <a:off x="3911165" y="1682317"/>
            <a:ext cx="0" cy="686094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5" name="Conector reto 24">
            <a:extLst>
              <a:ext uri="{FF2B5EF4-FFF2-40B4-BE49-F238E27FC236}">
                <a16:creationId xmlns:a16="http://schemas.microsoft.com/office/drawing/2014/main" id="{43323742-B2FA-4724-3E2F-921520D655A4}"/>
              </a:ext>
            </a:extLst>
          </p:cNvPr>
          <p:cNvCxnSpPr>
            <a:cxnSpLocks/>
          </p:cNvCxnSpPr>
          <p:nvPr/>
        </p:nvCxnSpPr>
        <p:spPr>
          <a:xfrm>
            <a:off x="4455030" y="1688289"/>
            <a:ext cx="0" cy="686094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Conector reto 25">
            <a:extLst>
              <a:ext uri="{FF2B5EF4-FFF2-40B4-BE49-F238E27FC236}">
                <a16:creationId xmlns:a16="http://schemas.microsoft.com/office/drawing/2014/main" id="{94752D1B-D593-BC84-04A5-29238BA60F8F}"/>
              </a:ext>
            </a:extLst>
          </p:cNvPr>
          <p:cNvCxnSpPr>
            <a:cxnSpLocks/>
          </p:cNvCxnSpPr>
          <p:nvPr/>
        </p:nvCxnSpPr>
        <p:spPr>
          <a:xfrm>
            <a:off x="4927102" y="1694188"/>
            <a:ext cx="0" cy="686094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7" name="Elipse 26">
            <a:extLst>
              <a:ext uri="{FF2B5EF4-FFF2-40B4-BE49-F238E27FC236}">
                <a16:creationId xmlns:a16="http://schemas.microsoft.com/office/drawing/2014/main" id="{6B9D4646-C982-28CF-E365-776AEF28A3E2}"/>
              </a:ext>
            </a:extLst>
          </p:cNvPr>
          <p:cNvSpPr/>
          <p:nvPr/>
        </p:nvSpPr>
        <p:spPr>
          <a:xfrm>
            <a:off x="7354967" y="2510452"/>
            <a:ext cx="370796" cy="386389"/>
          </a:xfrm>
          <a:prstGeom prst="ellipse">
            <a:avLst/>
          </a:prstGeom>
          <a:noFill/>
          <a:ln w="28575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>
              <a:solidFill>
                <a:schemeClr val="bg1"/>
              </a:solidFill>
              <a:latin typeface="Candara" panose="020E0502030303020204" pitchFamily="34" charset="0"/>
            </a:endParaRPr>
          </a:p>
        </p:txBody>
      </p:sp>
      <p:sp>
        <p:nvSpPr>
          <p:cNvPr id="28" name="CaixaDeTexto 27">
            <a:extLst>
              <a:ext uri="{FF2B5EF4-FFF2-40B4-BE49-F238E27FC236}">
                <a16:creationId xmlns:a16="http://schemas.microsoft.com/office/drawing/2014/main" id="{7C3BDF4C-2398-DEE4-AD64-EDE2E605C798}"/>
              </a:ext>
            </a:extLst>
          </p:cNvPr>
          <p:cNvSpPr txBox="1"/>
          <p:nvPr/>
        </p:nvSpPr>
        <p:spPr>
          <a:xfrm>
            <a:off x="7397672" y="2545611"/>
            <a:ext cx="370796" cy="507831"/>
          </a:xfrm>
          <a:prstGeom prst="rect">
            <a:avLst/>
          </a:prstGeom>
          <a:noFill/>
          <a:effectLst/>
        </p:spPr>
        <p:txBody>
          <a:bodyPr wrap="square">
            <a:spAutoFit/>
          </a:bodyPr>
          <a:lstStyle/>
          <a:p>
            <a:r>
              <a:rPr lang="pt-BR" sz="1600" b="1" dirty="0">
                <a:solidFill>
                  <a:schemeClr val="bg1"/>
                </a:solidFill>
                <a:latin typeface="Candara" panose="020E0502030303020204" pitchFamily="34" charset="0"/>
              </a:rPr>
              <a:t>6</a:t>
            </a:r>
          </a:p>
          <a:p>
            <a:r>
              <a:rPr lang="pt-BR" sz="1100" b="1" dirty="0">
                <a:latin typeface="Candara" panose="020E0502030303020204" pitchFamily="34" charset="0"/>
              </a:rPr>
              <a:t> </a:t>
            </a:r>
            <a:endParaRPr lang="pt-BR" sz="1100" dirty="0">
              <a:latin typeface="Candara" panose="020E0502030303020204" pitchFamily="34" charset="0"/>
            </a:endParaRPr>
          </a:p>
        </p:txBody>
      </p:sp>
      <p:cxnSp>
        <p:nvCxnSpPr>
          <p:cNvPr id="29" name="Conector reto 28">
            <a:extLst>
              <a:ext uri="{FF2B5EF4-FFF2-40B4-BE49-F238E27FC236}">
                <a16:creationId xmlns:a16="http://schemas.microsoft.com/office/drawing/2014/main" id="{94044A19-2579-074F-5974-148ADD8BA27D}"/>
              </a:ext>
            </a:extLst>
          </p:cNvPr>
          <p:cNvCxnSpPr>
            <a:cxnSpLocks/>
          </p:cNvCxnSpPr>
          <p:nvPr/>
        </p:nvCxnSpPr>
        <p:spPr>
          <a:xfrm>
            <a:off x="7543469" y="2899827"/>
            <a:ext cx="0" cy="621139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Conector reto 29">
            <a:extLst>
              <a:ext uri="{FF2B5EF4-FFF2-40B4-BE49-F238E27FC236}">
                <a16:creationId xmlns:a16="http://schemas.microsoft.com/office/drawing/2014/main" id="{A4B6868C-76C3-48AE-25FC-0AF61B8D8D25}"/>
              </a:ext>
            </a:extLst>
          </p:cNvPr>
          <p:cNvCxnSpPr>
            <a:cxnSpLocks/>
          </p:cNvCxnSpPr>
          <p:nvPr/>
        </p:nvCxnSpPr>
        <p:spPr>
          <a:xfrm>
            <a:off x="8021687" y="2910337"/>
            <a:ext cx="0" cy="621139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1" name="Elipse 30">
            <a:extLst>
              <a:ext uri="{FF2B5EF4-FFF2-40B4-BE49-F238E27FC236}">
                <a16:creationId xmlns:a16="http://schemas.microsoft.com/office/drawing/2014/main" id="{20A025CE-11B6-706A-D59A-A33616DE6D11}"/>
              </a:ext>
            </a:extLst>
          </p:cNvPr>
          <p:cNvSpPr/>
          <p:nvPr/>
        </p:nvSpPr>
        <p:spPr>
          <a:xfrm>
            <a:off x="7822672" y="2526219"/>
            <a:ext cx="370796" cy="386389"/>
          </a:xfrm>
          <a:prstGeom prst="ellipse">
            <a:avLst/>
          </a:prstGeom>
          <a:noFill/>
          <a:ln w="28575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>
              <a:solidFill>
                <a:schemeClr val="bg1"/>
              </a:solidFill>
              <a:latin typeface="Candara" panose="020E0502030303020204" pitchFamily="34" charset="0"/>
            </a:endParaRPr>
          </a:p>
        </p:txBody>
      </p:sp>
      <p:sp>
        <p:nvSpPr>
          <p:cNvPr id="32" name="CaixaDeTexto 31">
            <a:extLst>
              <a:ext uri="{FF2B5EF4-FFF2-40B4-BE49-F238E27FC236}">
                <a16:creationId xmlns:a16="http://schemas.microsoft.com/office/drawing/2014/main" id="{5F5E7C18-CA3A-924A-ECB9-B58A35D53C08}"/>
              </a:ext>
            </a:extLst>
          </p:cNvPr>
          <p:cNvSpPr txBox="1"/>
          <p:nvPr/>
        </p:nvSpPr>
        <p:spPr>
          <a:xfrm>
            <a:off x="7870924" y="2558609"/>
            <a:ext cx="370796" cy="507831"/>
          </a:xfrm>
          <a:prstGeom prst="rect">
            <a:avLst/>
          </a:prstGeom>
          <a:noFill/>
          <a:effectLst/>
        </p:spPr>
        <p:txBody>
          <a:bodyPr wrap="square">
            <a:spAutoFit/>
          </a:bodyPr>
          <a:lstStyle/>
          <a:p>
            <a:r>
              <a:rPr lang="pt-BR" sz="1600" b="1" dirty="0">
                <a:solidFill>
                  <a:schemeClr val="bg1"/>
                </a:solidFill>
                <a:latin typeface="Candara" panose="020E0502030303020204" pitchFamily="34" charset="0"/>
              </a:rPr>
              <a:t>7</a:t>
            </a:r>
          </a:p>
          <a:p>
            <a:r>
              <a:rPr lang="pt-BR" sz="1100" b="1" dirty="0">
                <a:latin typeface="Candara" panose="020E0502030303020204" pitchFamily="34" charset="0"/>
              </a:rPr>
              <a:t> </a:t>
            </a:r>
            <a:endParaRPr lang="pt-BR" sz="1100" dirty="0">
              <a:latin typeface="Candara" panose="020E0502030303020204" pitchFamily="34" charset="0"/>
            </a:endParaRPr>
          </a:p>
        </p:txBody>
      </p:sp>
      <p:cxnSp>
        <p:nvCxnSpPr>
          <p:cNvPr id="33" name="Conector reto 32">
            <a:extLst>
              <a:ext uri="{FF2B5EF4-FFF2-40B4-BE49-F238E27FC236}">
                <a16:creationId xmlns:a16="http://schemas.microsoft.com/office/drawing/2014/main" id="{773ED62E-83A1-849C-17A5-40F28E3FEBB7}"/>
              </a:ext>
            </a:extLst>
          </p:cNvPr>
          <p:cNvCxnSpPr>
            <a:cxnSpLocks/>
          </p:cNvCxnSpPr>
          <p:nvPr/>
        </p:nvCxnSpPr>
        <p:spPr>
          <a:xfrm>
            <a:off x="8713729" y="2910336"/>
            <a:ext cx="0" cy="621139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4" name="CaixaDeTexto 33">
            <a:extLst>
              <a:ext uri="{FF2B5EF4-FFF2-40B4-BE49-F238E27FC236}">
                <a16:creationId xmlns:a16="http://schemas.microsoft.com/office/drawing/2014/main" id="{C35DDBAA-D3D8-F642-B6F2-A50743735256}"/>
              </a:ext>
            </a:extLst>
          </p:cNvPr>
          <p:cNvSpPr txBox="1"/>
          <p:nvPr/>
        </p:nvSpPr>
        <p:spPr>
          <a:xfrm>
            <a:off x="8566299" y="2566698"/>
            <a:ext cx="370796" cy="507831"/>
          </a:xfrm>
          <a:prstGeom prst="rect">
            <a:avLst/>
          </a:prstGeom>
          <a:noFill/>
          <a:effectLst/>
        </p:spPr>
        <p:txBody>
          <a:bodyPr wrap="square">
            <a:spAutoFit/>
          </a:bodyPr>
          <a:lstStyle/>
          <a:p>
            <a:r>
              <a:rPr lang="pt-BR" sz="1600" b="1" dirty="0">
                <a:solidFill>
                  <a:schemeClr val="bg1"/>
                </a:solidFill>
                <a:latin typeface="Candara" panose="020E0502030303020204" pitchFamily="34" charset="0"/>
              </a:rPr>
              <a:t>8</a:t>
            </a:r>
          </a:p>
          <a:p>
            <a:r>
              <a:rPr lang="pt-BR" sz="1100" b="1" dirty="0">
                <a:latin typeface="Candara" panose="020E0502030303020204" pitchFamily="34" charset="0"/>
              </a:rPr>
              <a:t> </a:t>
            </a:r>
            <a:endParaRPr lang="pt-BR" sz="1100" dirty="0">
              <a:latin typeface="Candara" panose="020E0502030303020204" pitchFamily="34" charset="0"/>
            </a:endParaRPr>
          </a:p>
        </p:txBody>
      </p:sp>
      <p:sp>
        <p:nvSpPr>
          <p:cNvPr id="35" name="Elipse 34">
            <a:extLst>
              <a:ext uri="{FF2B5EF4-FFF2-40B4-BE49-F238E27FC236}">
                <a16:creationId xmlns:a16="http://schemas.microsoft.com/office/drawing/2014/main" id="{CBDC0C0F-3E00-6122-460F-70C6D7867436}"/>
              </a:ext>
            </a:extLst>
          </p:cNvPr>
          <p:cNvSpPr/>
          <p:nvPr/>
        </p:nvSpPr>
        <p:spPr>
          <a:xfrm>
            <a:off x="8520922" y="2532529"/>
            <a:ext cx="370796" cy="386389"/>
          </a:xfrm>
          <a:prstGeom prst="ellipse">
            <a:avLst/>
          </a:prstGeom>
          <a:noFill/>
          <a:ln w="28575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>
              <a:solidFill>
                <a:schemeClr val="bg1"/>
              </a:solidFill>
              <a:latin typeface="Candara" panose="020E0502030303020204" pitchFamily="34" charset="0"/>
            </a:endParaRPr>
          </a:p>
        </p:txBody>
      </p:sp>
      <p:cxnSp>
        <p:nvCxnSpPr>
          <p:cNvPr id="36" name="Conector reto 35">
            <a:extLst>
              <a:ext uri="{FF2B5EF4-FFF2-40B4-BE49-F238E27FC236}">
                <a16:creationId xmlns:a16="http://schemas.microsoft.com/office/drawing/2014/main" id="{12D40ED6-2E77-791A-BEEE-C66CFA95A873}"/>
              </a:ext>
            </a:extLst>
          </p:cNvPr>
          <p:cNvCxnSpPr>
            <a:cxnSpLocks/>
          </p:cNvCxnSpPr>
          <p:nvPr/>
        </p:nvCxnSpPr>
        <p:spPr>
          <a:xfrm>
            <a:off x="9507260" y="2918918"/>
            <a:ext cx="0" cy="621139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7" name="CaixaDeTexto 36">
            <a:extLst>
              <a:ext uri="{FF2B5EF4-FFF2-40B4-BE49-F238E27FC236}">
                <a16:creationId xmlns:a16="http://schemas.microsoft.com/office/drawing/2014/main" id="{88BF34F1-B5F3-9F56-D481-CA22759065C6}"/>
              </a:ext>
            </a:extLst>
          </p:cNvPr>
          <p:cNvSpPr txBox="1"/>
          <p:nvPr/>
        </p:nvSpPr>
        <p:spPr>
          <a:xfrm>
            <a:off x="9359830" y="2583643"/>
            <a:ext cx="370796" cy="507831"/>
          </a:xfrm>
          <a:prstGeom prst="rect">
            <a:avLst/>
          </a:prstGeom>
          <a:noFill/>
          <a:effectLst/>
        </p:spPr>
        <p:txBody>
          <a:bodyPr wrap="square">
            <a:spAutoFit/>
          </a:bodyPr>
          <a:lstStyle/>
          <a:p>
            <a:r>
              <a:rPr lang="pt-BR" sz="1600" b="1" dirty="0">
                <a:solidFill>
                  <a:schemeClr val="bg1"/>
                </a:solidFill>
                <a:latin typeface="Candara" panose="020E0502030303020204" pitchFamily="34" charset="0"/>
              </a:rPr>
              <a:t>9</a:t>
            </a:r>
          </a:p>
          <a:p>
            <a:r>
              <a:rPr lang="pt-BR" sz="1100" b="1" dirty="0">
                <a:latin typeface="Candara" panose="020E0502030303020204" pitchFamily="34" charset="0"/>
              </a:rPr>
              <a:t> </a:t>
            </a:r>
            <a:endParaRPr lang="pt-BR" sz="1100" dirty="0">
              <a:latin typeface="Candara" panose="020E0502030303020204" pitchFamily="34" charset="0"/>
            </a:endParaRPr>
          </a:p>
        </p:txBody>
      </p:sp>
      <p:sp>
        <p:nvSpPr>
          <p:cNvPr id="38" name="Elipse 37">
            <a:extLst>
              <a:ext uri="{FF2B5EF4-FFF2-40B4-BE49-F238E27FC236}">
                <a16:creationId xmlns:a16="http://schemas.microsoft.com/office/drawing/2014/main" id="{E5FF2711-EAA0-C204-481D-8D905761BE4F}"/>
              </a:ext>
            </a:extLst>
          </p:cNvPr>
          <p:cNvSpPr/>
          <p:nvPr/>
        </p:nvSpPr>
        <p:spPr>
          <a:xfrm>
            <a:off x="9314453" y="2548299"/>
            <a:ext cx="370796" cy="386389"/>
          </a:xfrm>
          <a:prstGeom prst="ellipse">
            <a:avLst/>
          </a:prstGeom>
          <a:noFill/>
          <a:ln w="28575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>
              <a:solidFill>
                <a:schemeClr val="bg1"/>
              </a:solidFill>
              <a:latin typeface="Candara" panose="020E0502030303020204" pitchFamily="34" charset="0"/>
            </a:endParaRPr>
          </a:p>
        </p:txBody>
      </p:sp>
      <p:sp>
        <p:nvSpPr>
          <p:cNvPr id="39" name="Elipse 38">
            <a:extLst>
              <a:ext uri="{FF2B5EF4-FFF2-40B4-BE49-F238E27FC236}">
                <a16:creationId xmlns:a16="http://schemas.microsoft.com/office/drawing/2014/main" id="{86DC78DF-1CE0-F08C-73AE-784E35641E2A}"/>
              </a:ext>
            </a:extLst>
          </p:cNvPr>
          <p:cNvSpPr/>
          <p:nvPr/>
        </p:nvSpPr>
        <p:spPr>
          <a:xfrm>
            <a:off x="501177" y="4521521"/>
            <a:ext cx="370796" cy="386389"/>
          </a:xfrm>
          <a:prstGeom prst="ellipse">
            <a:avLst/>
          </a:prstGeom>
          <a:noFill/>
          <a:ln w="28575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>
              <a:solidFill>
                <a:schemeClr val="bg1"/>
              </a:solidFill>
              <a:latin typeface="Candara" panose="020E0502030303020204" pitchFamily="34" charset="0"/>
            </a:endParaRPr>
          </a:p>
        </p:txBody>
      </p:sp>
      <p:sp>
        <p:nvSpPr>
          <p:cNvPr id="40" name="CaixaDeTexto 39">
            <a:extLst>
              <a:ext uri="{FF2B5EF4-FFF2-40B4-BE49-F238E27FC236}">
                <a16:creationId xmlns:a16="http://schemas.microsoft.com/office/drawing/2014/main" id="{95694065-4602-FF50-C497-BB9216BC466A}"/>
              </a:ext>
            </a:extLst>
          </p:cNvPr>
          <p:cNvSpPr txBox="1"/>
          <p:nvPr/>
        </p:nvSpPr>
        <p:spPr>
          <a:xfrm>
            <a:off x="545389" y="4542854"/>
            <a:ext cx="370796" cy="507831"/>
          </a:xfrm>
          <a:prstGeom prst="rect">
            <a:avLst/>
          </a:prstGeom>
          <a:noFill/>
          <a:effectLst/>
        </p:spPr>
        <p:txBody>
          <a:bodyPr wrap="square">
            <a:spAutoFit/>
          </a:bodyPr>
          <a:lstStyle/>
          <a:p>
            <a:r>
              <a:rPr lang="pt-BR" sz="1600" b="1" dirty="0">
                <a:solidFill>
                  <a:schemeClr val="bg1"/>
                </a:solidFill>
                <a:latin typeface="Candara" panose="020E0502030303020204" pitchFamily="34" charset="0"/>
              </a:rPr>
              <a:t>1</a:t>
            </a:r>
          </a:p>
          <a:p>
            <a:r>
              <a:rPr lang="pt-BR" sz="1100" b="1" dirty="0">
                <a:latin typeface="Candara" panose="020E0502030303020204" pitchFamily="34" charset="0"/>
              </a:rPr>
              <a:t> </a:t>
            </a:r>
            <a:endParaRPr lang="pt-BR" sz="1100" dirty="0">
              <a:latin typeface="Candara" panose="020E0502030303020204" pitchFamily="34" charset="0"/>
            </a:endParaRPr>
          </a:p>
        </p:txBody>
      </p:sp>
      <p:sp>
        <p:nvSpPr>
          <p:cNvPr id="41" name="CaixaDeTexto 40">
            <a:extLst>
              <a:ext uri="{FF2B5EF4-FFF2-40B4-BE49-F238E27FC236}">
                <a16:creationId xmlns:a16="http://schemas.microsoft.com/office/drawing/2014/main" id="{39C267CF-3C74-2FD2-14B8-A4B956367296}"/>
              </a:ext>
            </a:extLst>
          </p:cNvPr>
          <p:cNvSpPr txBox="1"/>
          <p:nvPr/>
        </p:nvSpPr>
        <p:spPr>
          <a:xfrm>
            <a:off x="731485" y="4446943"/>
            <a:ext cx="3542255" cy="830997"/>
          </a:xfrm>
          <a:prstGeom prst="rect">
            <a:avLst/>
          </a:prstGeom>
          <a:noFill/>
          <a:effectLst/>
        </p:spPr>
        <p:txBody>
          <a:bodyPr wrap="square">
            <a:spAutoFit/>
          </a:bodyPr>
          <a:lstStyle/>
          <a:p>
            <a:r>
              <a:rPr lang="pt-BR" sz="2400" dirty="0">
                <a:latin typeface="Candara" panose="020E0502030303020204" pitchFamily="34" charset="0"/>
              </a:rPr>
              <a:t>  </a:t>
            </a:r>
            <a:r>
              <a:rPr lang="pt-BR" sz="2000" dirty="0">
                <a:solidFill>
                  <a:schemeClr val="bg1"/>
                </a:solidFill>
                <a:latin typeface="Candara" panose="020E0502030303020204" pitchFamily="34" charset="0"/>
              </a:rPr>
              <a:t>Entrada de alimentação</a:t>
            </a:r>
          </a:p>
          <a:p>
            <a:r>
              <a:rPr lang="pt-BR" sz="2400" b="1" dirty="0">
                <a:latin typeface="Candara" panose="020E0502030303020204" pitchFamily="34" charset="0"/>
              </a:rPr>
              <a:t> </a:t>
            </a:r>
            <a:endParaRPr lang="pt-BR" sz="2400" dirty="0">
              <a:latin typeface="Candara" panose="020E0502030303020204" pitchFamily="34" charset="0"/>
            </a:endParaRPr>
          </a:p>
        </p:txBody>
      </p:sp>
      <p:sp>
        <p:nvSpPr>
          <p:cNvPr id="42" name="Elipse 41">
            <a:extLst>
              <a:ext uri="{FF2B5EF4-FFF2-40B4-BE49-F238E27FC236}">
                <a16:creationId xmlns:a16="http://schemas.microsoft.com/office/drawing/2014/main" id="{904E7E64-E3C7-6F8A-B4E3-BB8C4BA9B9D5}"/>
              </a:ext>
            </a:extLst>
          </p:cNvPr>
          <p:cNvSpPr/>
          <p:nvPr/>
        </p:nvSpPr>
        <p:spPr>
          <a:xfrm>
            <a:off x="501177" y="5092810"/>
            <a:ext cx="370796" cy="386389"/>
          </a:xfrm>
          <a:prstGeom prst="ellipse">
            <a:avLst/>
          </a:prstGeom>
          <a:noFill/>
          <a:ln w="28575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>
              <a:latin typeface="Candara" panose="020E0502030303020204" pitchFamily="34" charset="0"/>
            </a:endParaRPr>
          </a:p>
        </p:txBody>
      </p:sp>
      <p:sp>
        <p:nvSpPr>
          <p:cNvPr id="43" name="CaixaDeTexto 42">
            <a:extLst>
              <a:ext uri="{FF2B5EF4-FFF2-40B4-BE49-F238E27FC236}">
                <a16:creationId xmlns:a16="http://schemas.microsoft.com/office/drawing/2014/main" id="{45B03A58-991C-AB14-BD63-D5E3B583A7D1}"/>
              </a:ext>
            </a:extLst>
          </p:cNvPr>
          <p:cNvSpPr txBox="1"/>
          <p:nvPr/>
        </p:nvSpPr>
        <p:spPr>
          <a:xfrm>
            <a:off x="731485" y="5018232"/>
            <a:ext cx="2443429" cy="830997"/>
          </a:xfrm>
          <a:prstGeom prst="rect">
            <a:avLst/>
          </a:prstGeom>
          <a:noFill/>
          <a:effectLst/>
        </p:spPr>
        <p:txBody>
          <a:bodyPr wrap="square">
            <a:spAutoFit/>
          </a:bodyPr>
          <a:lstStyle/>
          <a:p>
            <a:r>
              <a:rPr lang="pt-BR" sz="2400" dirty="0">
                <a:latin typeface="Candara" panose="020E0502030303020204" pitchFamily="34" charset="0"/>
              </a:rPr>
              <a:t>  </a:t>
            </a:r>
            <a:r>
              <a:rPr lang="pt-BR" sz="2000" dirty="0">
                <a:solidFill>
                  <a:schemeClr val="bg1"/>
                </a:solidFill>
                <a:latin typeface="Candara" panose="020E0502030303020204" pitchFamily="34" charset="0"/>
              </a:rPr>
              <a:t>USB Tipo A</a:t>
            </a:r>
          </a:p>
          <a:p>
            <a:r>
              <a:rPr lang="pt-BR" sz="2400" b="1" dirty="0">
                <a:latin typeface="Candara" panose="020E0502030303020204" pitchFamily="34" charset="0"/>
              </a:rPr>
              <a:t> </a:t>
            </a:r>
            <a:endParaRPr lang="pt-BR" sz="2400" dirty="0">
              <a:latin typeface="Candara" panose="020E0502030303020204" pitchFamily="34" charset="0"/>
            </a:endParaRPr>
          </a:p>
        </p:txBody>
      </p:sp>
      <p:sp>
        <p:nvSpPr>
          <p:cNvPr id="44" name="Elipse 43">
            <a:extLst>
              <a:ext uri="{FF2B5EF4-FFF2-40B4-BE49-F238E27FC236}">
                <a16:creationId xmlns:a16="http://schemas.microsoft.com/office/drawing/2014/main" id="{46F34B25-BAE0-9062-DC81-2746FBEB3D15}"/>
              </a:ext>
            </a:extLst>
          </p:cNvPr>
          <p:cNvSpPr/>
          <p:nvPr/>
        </p:nvSpPr>
        <p:spPr>
          <a:xfrm>
            <a:off x="3791031" y="4475409"/>
            <a:ext cx="370796" cy="386389"/>
          </a:xfrm>
          <a:prstGeom prst="ellipse">
            <a:avLst/>
          </a:prstGeom>
          <a:noFill/>
          <a:ln w="28575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>
              <a:latin typeface="Candara" panose="020E0502030303020204" pitchFamily="34" charset="0"/>
            </a:endParaRPr>
          </a:p>
        </p:txBody>
      </p:sp>
      <p:sp>
        <p:nvSpPr>
          <p:cNvPr id="45" name="CaixaDeTexto 44">
            <a:extLst>
              <a:ext uri="{FF2B5EF4-FFF2-40B4-BE49-F238E27FC236}">
                <a16:creationId xmlns:a16="http://schemas.microsoft.com/office/drawing/2014/main" id="{ED989671-EE57-198A-97FB-85CA7D42B41F}"/>
              </a:ext>
            </a:extLst>
          </p:cNvPr>
          <p:cNvSpPr txBox="1"/>
          <p:nvPr/>
        </p:nvSpPr>
        <p:spPr>
          <a:xfrm>
            <a:off x="545389" y="5811826"/>
            <a:ext cx="370796" cy="507831"/>
          </a:xfrm>
          <a:prstGeom prst="rect">
            <a:avLst/>
          </a:prstGeom>
          <a:noFill/>
          <a:effectLst/>
        </p:spPr>
        <p:txBody>
          <a:bodyPr wrap="square">
            <a:spAutoFit/>
          </a:bodyPr>
          <a:lstStyle/>
          <a:p>
            <a:r>
              <a:rPr lang="pt-BR" sz="1600" b="1" dirty="0">
                <a:solidFill>
                  <a:schemeClr val="bg1"/>
                </a:solidFill>
                <a:latin typeface="Candara" panose="020E0502030303020204" pitchFamily="34" charset="0"/>
              </a:rPr>
              <a:t>3</a:t>
            </a:r>
          </a:p>
          <a:p>
            <a:r>
              <a:rPr lang="pt-BR" sz="1100" b="1" dirty="0">
                <a:latin typeface="Candara" panose="020E0502030303020204" pitchFamily="34" charset="0"/>
              </a:rPr>
              <a:t> </a:t>
            </a:r>
            <a:endParaRPr lang="pt-BR" sz="1100" dirty="0">
              <a:latin typeface="Candara" panose="020E0502030303020204" pitchFamily="34" charset="0"/>
            </a:endParaRPr>
          </a:p>
        </p:txBody>
      </p:sp>
      <p:sp>
        <p:nvSpPr>
          <p:cNvPr id="46" name="CaixaDeTexto 45">
            <a:extLst>
              <a:ext uri="{FF2B5EF4-FFF2-40B4-BE49-F238E27FC236}">
                <a16:creationId xmlns:a16="http://schemas.microsoft.com/office/drawing/2014/main" id="{66C20BFC-857C-D320-1872-A54A8AF31346}"/>
              </a:ext>
            </a:extLst>
          </p:cNvPr>
          <p:cNvSpPr txBox="1"/>
          <p:nvPr/>
        </p:nvSpPr>
        <p:spPr>
          <a:xfrm>
            <a:off x="779930" y="5752498"/>
            <a:ext cx="3542255" cy="830997"/>
          </a:xfrm>
          <a:prstGeom prst="rect">
            <a:avLst/>
          </a:prstGeom>
          <a:noFill/>
          <a:effectLst/>
        </p:spPr>
        <p:txBody>
          <a:bodyPr wrap="square">
            <a:spAutoFit/>
          </a:bodyPr>
          <a:lstStyle/>
          <a:p>
            <a:r>
              <a:rPr lang="pt-BR" sz="2400" dirty="0">
                <a:latin typeface="Candara" panose="020E0502030303020204" pitchFamily="34" charset="0"/>
              </a:rPr>
              <a:t>  </a:t>
            </a:r>
            <a:r>
              <a:rPr lang="pt-BR" sz="2000" dirty="0">
                <a:solidFill>
                  <a:schemeClr val="bg1"/>
                </a:solidFill>
                <a:latin typeface="Candara" panose="020E0502030303020204" pitchFamily="34" charset="0"/>
              </a:rPr>
              <a:t>HDMI</a:t>
            </a:r>
            <a:r>
              <a:rPr lang="pt-BR" sz="2000" b="0" i="0" dirty="0">
                <a:solidFill>
                  <a:schemeClr val="bg1"/>
                </a:solidFill>
                <a:effectLst/>
                <a:latin typeface="Candara" panose="020E0502030303020204" pitchFamily="34" charset="0"/>
              </a:rPr>
              <a:t>® 1.4</a:t>
            </a:r>
            <a:endParaRPr lang="pt-BR" sz="2000" dirty="0">
              <a:solidFill>
                <a:schemeClr val="bg1"/>
              </a:solidFill>
              <a:latin typeface="Candara" panose="020E0502030303020204" pitchFamily="34" charset="0"/>
            </a:endParaRPr>
          </a:p>
          <a:p>
            <a:r>
              <a:rPr lang="pt-BR" sz="2400" b="1" dirty="0">
                <a:latin typeface="Candara" panose="020E0502030303020204" pitchFamily="34" charset="0"/>
              </a:rPr>
              <a:t> </a:t>
            </a:r>
            <a:endParaRPr lang="pt-BR" sz="2400" dirty="0">
              <a:latin typeface="Candara" panose="020E0502030303020204" pitchFamily="34" charset="0"/>
            </a:endParaRPr>
          </a:p>
        </p:txBody>
      </p:sp>
      <p:sp>
        <p:nvSpPr>
          <p:cNvPr id="47" name="Elipse 46">
            <a:extLst>
              <a:ext uri="{FF2B5EF4-FFF2-40B4-BE49-F238E27FC236}">
                <a16:creationId xmlns:a16="http://schemas.microsoft.com/office/drawing/2014/main" id="{BE0705FA-CA6C-E35A-891C-D4585C2C5B0F}"/>
              </a:ext>
            </a:extLst>
          </p:cNvPr>
          <p:cNvSpPr/>
          <p:nvPr/>
        </p:nvSpPr>
        <p:spPr>
          <a:xfrm>
            <a:off x="3775964" y="5149336"/>
            <a:ext cx="370796" cy="386389"/>
          </a:xfrm>
          <a:prstGeom prst="ellipse">
            <a:avLst/>
          </a:prstGeom>
          <a:noFill/>
          <a:ln w="28575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>
              <a:latin typeface="Candara" panose="020E0502030303020204" pitchFamily="34" charset="0"/>
            </a:endParaRPr>
          </a:p>
        </p:txBody>
      </p:sp>
      <p:sp>
        <p:nvSpPr>
          <p:cNvPr id="48" name="CaixaDeTexto 47">
            <a:extLst>
              <a:ext uri="{FF2B5EF4-FFF2-40B4-BE49-F238E27FC236}">
                <a16:creationId xmlns:a16="http://schemas.microsoft.com/office/drawing/2014/main" id="{9868C07D-D11E-DD06-EDF1-DDB12BA66DF4}"/>
              </a:ext>
            </a:extLst>
          </p:cNvPr>
          <p:cNvSpPr txBox="1"/>
          <p:nvPr/>
        </p:nvSpPr>
        <p:spPr>
          <a:xfrm>
            <a:off x="3816522" y="4492626"/>
            <a:ext cx="370796" cy="507831"/>
          </a:xfrm>
          <a:prstGeom prst="rect">
            <a:avLst/>
          </a:prstGeom>
          <a:noFill/>
          <a:effectLst/>
        </p:spPr>
        <p:txBody>
          <a:bodyPr wrap="square">
            <a:spAutoFit/>
          </a:bodyPr>
          <a:lstStyle/>
          <a:p>
            <a:r>
              <a:rPr lang="pt-BR" sz="1600" b="1" dirty="0">
                <a:solidFill>
                  <a:schemeClr val="bg1"/>
                </a:solidFill>
                <a:latin typeface="Candara" panose="020E0502030303020204" pitchFamily="34" charset="0"/>
              </a:rPr>
              <a:t>4</a:t>
            </a:r>
          </a:p>
          <a:p>
            <a:r>
              <a:rPr lang="pt-BR" sz="1100" b="1" dirty="0">
                <a:latin typeface="Candara" panose="020E0502030303020204" pitchFamily="34" charset="0"/>
              </a:rPr>
              <a:t> </a:t>
            </a:r>
            <a:endParaRPr lang="pt-BR" sz="1100" dirty="0">
              <a:latin typeface="Candara" panose="020E0502030303020204" pitchFamily="34" charset="0"/>
            </a:endParaRPr>
          </a:p>
        </p:txBody>
      </p:sp>
      <p:sp>
        <p:nvSpPr>
          <p:cNvPr id="49" name="CaixaDeTexto 48">
            <a:extLst>
              <a:ext uri="{FF2B5EF4-FFF2-40B4-BE49-F238E27FC236}">
                <a16:creationId xmlns:a16="http://schemas.microsoft.com/office/drawing/2014/main" id="{3205DA4F-69B1-98C1-1177-7832B6775E35}"/>
              </a:ext>
            </a:extLst>
          </p:cNvPr>
          <p:cNvSpPr txBox="1"/>
          <p:nvPr/>
        </p:nvSpPr>
        <p:spPr>
          <a:xfrm>
            <a:off x="4025896" y="4448175"/>
            <a:ext cx="1940259" cy="830997"/>
          </a:xfrm>
          <a:prstGeom prst="rect">
            <a:avLst/>
          </a:prstGeom>
          <a:noFill/>
          <a:effectLst/>
        </p:spPr>
        <p:txBody>
          <a:bodyPr wrap="square">
            <a:spAutoFit/>
          </a:bodyPr>
          <a:lstStyle/>
          <a:p>
            <a:r>
              <a:rPr lang="pt-BR" sz="2400" dirty="0">
                <a:latin typeface="Candara" panose="020E0502030303020204" pitchFamily="34" charset="0"/>
              </a:rPr>
              <a:t>  </a:t>
            </a:r>
            <a:r>
              <a:rPr lang="pt-BR" sz="2000" dirty="0">
                <a:solidFill>
                  <a:schemeClr val="bg1"/>
                </a:solidFill>
                <a:latin typeface="Candara" panose="020E0502030303020204" pitchFamily="34" charset="0"/>
              </a:rPr>
              <a:t>USB Tipo C</a:t>
            </a:r>
          </a:p>
          <a:p>
            <a:r>
              <a:rPr lang="pt-BR" sz="2400" b="1" dirty="0">
                <a:latin typeface="Candara" panose="020E0502030303020204" pitchFamily="34" charset="0"/>
              </a:rPr>
              <a:t> </a:t>
            </a:r>
            <a:endParaRPr lang="pt-BR" sz="2400" dirty="0">
              <a:latin typeface="Candara" panose="020E0502030303020204" pitchFamily="34" charset="0"/>
            </a:endParaRPr>
          </a:p>
        </p:txBody>
      </p:sp>
      <p:sp>
        <p:nvSpPr>
          <p:cNvPr id="50" name="Elipse 49">
            <a:extLst>
              <a:ext uri="{FF2B5EF4-FFF2-40B4-BE49-F238E27FC236}">
                <a16:creationId xmlns:a16="http://schemas.microsoft.com/office/drawing/2014/main" id="{C8AD6C6E-2910-8330-09CB-B0AF4AA9E0E8}"/>
              </a:ext>
            </a:extLst>
          </p:cNvPr>
          <p:cNvSpPr/>
          <p:nvPr/>
        </p:nvSpPr>
        <p:spPr>
          <a:xfrm>
            <a:off x="8369281" y="4446634"/>
            <a:ext cx="370796" cy="386389"/>
          </a:xfrm>
          <a:prstGeom prst="ellipse">
            <a:avLst/>
          </a:prstGeom>
          <a:noFill/>
          <a:ln w="28575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>
              <a:latin typeface="Candara" panose="020E0502030303020204" pitchFamily="34" charset="0"/>
            </a:endParaRPr>
          </a:p>
        </p:txBody>
      </p:sp>
      <p:sp>
        <p:nvSpPr>
          <p:cNvPr id="51" name="CaixaDeTexto 50">
            <a:extLst>
              <a:ext uri="{FF2B5EF4-FFF2-40B4-BE49-F238E27FC236}">
                <a16:creationId xmlns:a16="http://schemas.microsoft.com/office/drawing/2014/main" id="{CF159DAC-929E-B431-952E-E700151D5950}"/>
              </a:ext>
            </a:extLst>
          </p:cNvPr>
          <p:cNvSpPr txBox="1"/>
          <p:nvPr/>
        </p:nvSpPr>
        <p:spPr>
          <a:xfrm>
            <a:off x="3809546" y="5172541"/>
            <a:ext cx="370796" cy="507831"/>
          </a:xfrm>
          <a:prstGeom prst="rect">
            <a:avLst/>
          </a:prstGeom>
          <a:noFill/>
          <a:effectLst/>
        </p:spPr>
        <p:txBody>
          <a:bodyPr wrap="square">
            <a:spAutoFit/>
          </a:bodyPr>
          <a:lstStyle/>
          <a:p>
            <a:r>
              <a:rPr lang="pt-BR" sz="1600" b="1" dirty="0">
                <a:solidFill>
                  <a:schemeClr val="bg1"/>
                </a:solidFill>
                <a:latin typeface="Candara" panose="020E0502030303020204" pitchFamily="34" charset="0"/>
              </a:rPr>
              <a:t>5</a:t>
            </a:r>
          </a:p>
          <a:p>
            <a:r>
              <a:rPr lang="pt-BR" sz="1100" b="1" dirty="0">
                <a:latin typeface="Candara" panose="020E0502030303020204" pitchFamily="34" charset="0"/>
              </a:rPr>
              <a:t> </a:t>
            </a:r>
            <a:endParaRPr lang="pt-BR" sz="1100" dirty="0">
              <a:latin typeface="Candara" panose="020E0502030303020204" pitchFamily="34" charset="0"/>
            </a:endParaRPr>
          </a:p>
        </p:txBody>
      </p:sp>
      <p:sp>
        <p:nvSpPr>
          <p:cNvPr id="52" name="CaixaDeTexto 51">
            <a:extLst>
              <a:ext uri="{FF2B5EF4-FFF2-40B4-BE49-F238E27FC236}">
                <a16:creationId xmlns:a16="http://schemas.microsoft.com/office/drawing/2014/main" id="{F5F3A4D5-0E2F-B391-2FFA-F83331B0C12C}"/>
              </a:ext>
            </a:extLst>
          </p:cNvPr>
          <p:cNvSpPr txBox="1"/>
          <p:nvPr/>
        </p:nvSpPr>
        <p:spPr>
          <a:xfrm>
            <a:off x="4015192" y="5136038"/>
            <a:ext cx="4236264" cy="830997"/>
          </a:xfrm>
          <a:prstGeom prst="rect">
            <a:avLst/>
          </a:prstGeom>
          <a:noFill/>
          <a:effectLst/>
        </p:spPr>
        <p:txBody>
          <a:bodyPr wrap="square">
            <a:spAutoFit/>
          </a:bodyPr>
          <a:lstStyle/>
          <a:p>
            <a:r>
              <a:rPr lang="pt-BR" sz="2400" dirty="0">
                <a:latin typeface="Candara" panose="020E0502030303020204" pitchFamily="34" charset="0"/>
              </a:rPr>
              <a:t>  </a:t>
            </a:r>
            <a:r>
              <a:rPr lang="pt-BR" sz="2000" dirty="0">
                <a:solidFill>
                  <a:schemeClr val="bg1"/>
                </a:solidFill>
                <a:latin typeface="Candara" panose="020E0502030303020204" pitchFamily="34" charset="0"/>
              </a:rPr>
              <a:t>Entrada fone de ouvido/ microfone</a:t>
            </a:r>
          </a:p>
          <a:p>
            <a:r>
              <a:rPr lang="pt-BR" sz="2400" b="1" dirty="0">
                <a:latin typeface="Candara" panose="020E0502030303020204" pitchFamily="34" charset="0"/>
              </a:rPr>
              <a:t> </a:t>
            </a:r>
            <a:endParaRPr lang="pt-BR" sz="2400" dirty="0">
              <a:latin typeface="Candara" panose="020E0502030303020204" pitchFamily="34" charset="0"/>
            </a:endParaRPr>
          </a:p>
        </p:txBody>
      </p:sp>
      <p:sp>
        <p:nvSpPr>
          <p:cNvPr id="53" name="Elipse 52">
            <a:extLst>
              <a:ext uri="{FF2B5EF4-FFF2-40B4-BE49-F238E27FC236}">
                <a16:creationId xmlns:a16="http://schemas.microsoft.com/office/drawing/2014/main" id="{16FD085F-6DAE-3DB9-0E77-8AB2DC17B39E}"/>
              </a:ext>
            </a:extLst>
          </p:cNvPr>
          <p:cNvSpPr/>
          <p:nvPr/>
        </p:nvSpPr>
        <p:spPr>
          <a:xfrm>
            <a:off x="8378435" y="5082745"/>
            <a:ext cx="370796" cy="386389"/>
          </a:xfrm>
          <a:prstGeom prst="ellipse">
            <a:avLst/>
          </a:prstGeom>
          <a:noFill/>
          <a:ln w="28575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>
              <a:latin typeface="Candara" panose="020E0502030303020204" pitchFamily="34" charset="0"/>
            </a:endParaRPr>
          </a:p>
        </p:txBody>
      </p:sp>
      <p:sp>
        <p:nvSpPr>
          <p:cNvPr id="54" name="CaixaDeTexto 53">
            <a:extLst>
              <a:ext uri="{FF2B5EF4-FFF2-40B4-BE49-F238E27FC236}">
                <a16:creationId xmlns:a16="http://schemas.microsoft.com/office/drawing/2014/main" id="{F2125AF1-8329-0849-3BAF-F2099A22B5AE}"/>
              </a:ext>
            </a:extLst>
          </p:cNvPr>
          <p:cNvSpPr txBox="1"/>
          <p:nvPr/>
        </p:nvSpPr>
        <p:spPr>
          <a:xfrm>
            <a:off x="3813174" y="5808725"/>
            <a:ext cx="370796" cy="507831"/>
          </a:xfrm>
          <a:prstGeom prst="rect">
            <a:avLst/>
          </a:prstGeom>
          <a:noFill/>
          <a:effectLst/>
        </p:spPr>
        <p:txBody>
          <a:bodyPr wrap="square">
            <a:spAutoFit/>
          </a:bodyPr>
          <a:lstStyle/>
          <a:p>
            <a:r>
              <a:rPr lang="pt-BR" sz="1600" b="1" dirty="0">
                <a:solidFill>
                  <a:schemeClr val="bg1"/>
                </a:solidFill>
                <a:latin typeface="Candara" panose="020E0502030303020204" pitchFamily="34" charset="0"/>
              </a:rPr>
              <a:t>6</a:t>
            </a:r>
          </a:p>
          <a:p>
            <a:r>
              <a:rPr lang="pt-BR" sz="1100" b="1" dirty="0">
                <a:latin typeface="Candara" panose="020E0502030303020204" pitchFamily="34" charset="0"/>
              </a:rPr>
              <a:t> </a:t>
            </a:r>
            <a:endParaRPr lang="pt-BR" sz="1100" dirty="0">
              <a:latin typeface="Candara" panose="020E0502030303020204" pitchFamily="34" charset="0"/>
            </a:endParaRPr>
          </a:p>
        </p:txBody>
      </p:sp>
      <p:sp>
        <p:nvSpPr>
          <p:cNvPr id="55" name="CaixaDeTexto 54">
            <a:extLst>
              <a:ext uri="{FF2B5EF4-FFF2-40B4-BE49-F238E27FC236}">
                <a16:creationId xmlns:a16="http://schemas.microsoft.com/office/drawing/2014/main" id="{EF42E718-F2FE-3C36-3AF2-BFE1A07C1E1B}"/>
              </a:ext>
            </a:extLst>
          </p:cNvPr>
          <p:cNvSpPr txBox="1"/>
          <p:nvPr/>
        </p:nvSpPr>
        <p:spPr>
          <a:xfrm>
            <a:off x="4042901" y="5728804"/>
            <a:ext cx="5845021" cy="830997"/>
          </a:xfrm>
          <a:prstGeom prst="rect">
            <a:avLst/>
          </a:prstGeom>
          <a:noFill/>
          <a:effectLst/>
        </p:spPr>
        <p:txBody>
          <a:bodyPr wrap="square">
            <a:spAutoFit/>
          </a:bodyPr>
          <a:lstStyle/>
          <a:p>
            <a:r>
              <a:rPr lang="pt-BR" sz="2400" dirty="0">
                <a:latin typeface="Candara" panose="020E0502030303020204" pitchFamily="34" charset="0"/>
              </a:rPr>
              <a:t>  </a:t>
            </a:r>
            <a:r>
              <a:rPr lang="pt-BR" sz="2000" dirty="0">
                <a:solidFill>
                  <a:schemeClr val="bg1"/>
                </a:solidFill>
                <a:latin typeface="Candara" panose="020E0502030303020204" pitchFamily="34" charset="0"/>
              </a:rPr>
              <a:t>Botão para recovery</a:t>
            </a:r>
          </a:p>
          <a:p>
            <a:r>
              <a:rPr lang="pt-BR" sz="2400" b="1" dirty="0">
                <a:solidFill>
                  <a:schemeClr val="bg1"/>
                </a:solidFill>
                <a:latin typeface="Candara" panose="020E0502030303020204" pitchFamily="34" charset="0"/>
              </a:rPr>
              <a:t> </a:t>
            </a:r>
            <a:endParaRPr lang="pt-BR" sz="2400" dirty="0">
              <a:solidFill>
                <a:schemeClr val="bg1"/>
              </a:solidFill>
              <a:latin typeface="Candara" panose="020E0502030303020204" pitchFamily="34" charset="0"/>
            </a:endParaRPr>
          </a:p>
        </p:txBody>
      </p:sp>
      <p:sp>
        <p:nvSpPr>
          <p:cNvPr id="56" name="Elipse 55">
            <a:extLst>
              <a:ext uri="{FF2B5EF4-FFF2-40B4-BE49-F238E27FC236}">
                <a16:creationId xmlns:a16="http://schemas.microsoft.com/office/drawing/2014/main" id="{E0E62E11-0934-BA9F-66FA-2B64862E6A84}"/>
              </a:ext>
            </a:extLst>
          </p:cNvPr>
          <p:cNvSpPr/>
          <p:nvPr/>
        </p:nvSpPr>
        <p:spPr>
          <a:xfrm>
            <a:off x="509884" y="5773683"/>
            <a:ext cx="370796" cy="386389"/>
          </a:xfrm>
          <a:prstGeom prst="ellipse">
            <a:avLst/>
          </a:prstGeom>
          <a:noFill/>
          <a:ln w="28575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>
              <a:latin typeface="Candara" panose="020E0502030303020204" pitchFamily="34" charset="0"/>
            </a:endParaRPr>
          </a:p>
        </p:txBody>
      </p:sp>
      <p:sp>
        <p:nvSpPr>
          <p:cNvPr id="57" name="CaixaDeTexto 56">
            <a:extLst>
              <a:ext uri="{FF2B5EF4-FFF2-40B4-BE49-F238E27FC236}">
                <a16:creationId xmlns:a16="http://schemas.microsoft.com/office/drawing/2014/main" id="{74CB9C1F-2A02-D604-6800-03B8120DFD78}"/>
              </a:ext>
            </a:extLst>
          </p:cNvPr>
          <p:cNvSpPr txBox="1"/>
          <p:nvPr/>
        </p:nvSpPr>
        <p:spPr>
          <a:xfrm>
            <a:off x="8413447" y="4475588"/>
            <a:ext cx="370796" cy="507831"/>
          </a:xfrm>
          <a:prstGeom prst="rect">
            <a:avLst/>
          </a:prstGeom>
          <a:noFill/>
          <a:effectLst/>
        </p:spPr>
        <p:txBody>
          <a:bodyPr wrap="square">
            <a:spAutoFit/>
          </a:bodyPr>
          <a:lstStyle/>
          <a:p>
            <a:r>
              <a:rPr lang="pt-BR" sz="1600" b="1" dirty="0">
                <a:solidFill>
                  <a:schemeClr val="bg1"/>
                </a:solidFill>
                <a:latin typeface="Candara" panose="020E0502030303020204" pitchFamily="34" charset="0"/>
              </a:rPr>
              <a:t>7</a:t>
            </a:r>
          </a:p>
          <a:p>
            <a:r>
              <a:rPr lang="pt-BR" sz="1100" b="1" dirty="0">
                <a:latin typeface="Candara" panose="020E0502030303020204" pitchFamily="34" charset="0"/>
              </a:rPr>
              <a:t> </a:t>
            </a:r>
            <a:endParaRPr lang="pt-BR" sz="1100" dirty="0">
              <a:latin typeface="Candara" panose="020E0502030303020204" pitchFamily="34" charset="0"/>
            </a:endParaRPr>
          </a:p>
        </p:txBody>
      </p:sp>
      <p:sp>
        <p:nvSpPr>
          <p:cNvPr id="58" name="Elipse 57">
            <a:extLst>
              <a:ext uri="{FF2B5EF4-FFF2-40B4-BE49-F238E27FC236}">
                <a16:creationId xmlns:a16="http://schemas.microsoft.com/office/drawing/2014/main" id="{0909E94A-2434-2E6F-3273-71B696893221}"/>
              </a:ext>
            </a:extLst>
          </p:cNvPr>
          <p:cNvSpPr/>
          <p:nvPr/>
        </p:nvSpPr>
        <p:spPr>
          <a:xfrm>
            <a:off x="3776231" y="5782947"/>
            <a:ext cx="370796" cy="386389"/>
          </a:xfrm>
          <a:prstGeom prst="ellipse">
            <a:avLst/>
          </a:prstGeom>
          <a:noFill/>
          <a:ln w="28575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>
              <a:latin typeface="Candara" panose="020E0502030303020204" pitchFamily="34" charset="0"/>
            </a:endParaRPr>
          </a:p>
        </p:txBody>
      </p:sp>
      <p:sp>
        <p:nvSpPr>
          <p:cNvPr id="59" name="CaixaDeTexto 58">
            <a:extLst>
              <a:ext uri="{FF2B5EF4-FFF2-40B4-BE49-F238E27FC236}">
                <a16:creationId xmlns:a16="http://schemas.microsoft.com/office/drawing/2014/main" id="{0F6A783E-A2E2-D0A6-FF8D-6741F5EBFCBA}"/>
              </a:ext>
            </a:extLst>
          </p:cNvPr>
          <p:cNvSpPr txBox="1"/>
          <p:nvPr/>
        </p:nvSpPr>
        <p:spPr>
          <a:xfrm>
            <a:off x="8405866" y="5109332"/>
            <a:ext cx="370796" cy="507831"/>
          </a:xfrm>
          <a:prstGeom prst="rect">
            <a:avLst/>
          </a:prstGeom>
          <a:noFill/>
          <a:effectLst/>
        </p:spPr>
        <p:txBody>
          <a:bodyPr wrap="square">
            <a:spAutoFit/>
          </a:bodyPr>
          <a:lstStyle/>
          <a:p>
            <a:r>
              <a:rPr lang="pt-BR" sz="1600" b="1" dirty="0">
                <a:solidFill>
                  <a:schemeClr val="bg1"/>
                </a:solidFill>
                <a:latin typeface="Candara" panose="020E0502030303020204" pitchFamily="34" charset="0"/>
              </a:rPr>
              <a:t>8</a:t>
            </a:r>
          </a:p>
          <a:p>
            <a:r>
              <a:rPr lang="pt-BR" sz="1100" b="1" dirty="0">
                <a:latin typeface="Candara" panose="020E0502030303020204" pitchFamily="34" charset="0"/>
              </a:rPr>
              <a:t> </a:t>
            </a:r>
            <a:endParaRPr lang="pt-BR" sz="1100" dirty="0">
              <a:latin typeface="Candara" panose="020E0502030303020204" pitchFamily="34" charset="0"/>
            </a:endParaRPr>
          </a:p>
        </p:txBody>
      </p:sp>
      <p:sp>
        <p:nvSpPr>
          <p:cNvPr id="60" name="Elipse 59">
            <a:extLst>
              <a:ext uri="{FF2B5EF4-FFF2-40B4-BE49-F238E27FC236}">
                <a16:creationId xmlns:a16="http://schemas.microsoft.com/office/drawing/2014/main" id="{E0363982-98B3-9E9A-EA32-93C7C872BEA2}"/>
              </a:ext>
            </a:extLst>
          </p:cNvPr>
          <p:cNvSpPr/>
          <p:nvPr/>
        </p:nvSpPr>
        <p:spPr>
          <a:xfrm>
            <a:off x="8378435" y="5766764"/>
            <a:ext cx="370796" cy="386389"/>
          </a:xfrm>
          <a:prstGeom prst="ellipse">
            <a:avLst/>
          </a:prstGeom>
          <a:noFill/>
          <a:ln w="28575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>
              <a:latin typeface="Candara" panose="020E0502030303020204" pitchFamily="34" charset="0"/>
            </a:endParaRPr>
          </a:p>
        </p:txBody>
      </p:sp>
      <p:sp>
        <p:nvSpPr>
          <p:cNvPr id="61" name="CaixaDeTexto 60">
            <a:extLst>
              <a:ext uri="{FF2B5EF4-FFF2-40B4-BE49-F238E27FC236}">
                <a16:creationId xmlns:a16="http://schemas.microsoft.com/office/drawing/2014/main" id="{B8F21CAB-B179-3E6A-3A7E-201FC7FFE376}"/>
              </a:ext>
            </a:extLst>
          </p:cNvPr>
          <p:cNvSpPr txBox="1"/>
          <p:nvPr/>
        </p:nvSpPr>
        <p:spPr>
          <a:xfrm>
            <a:off x="8415896" y="5791434"/>
            <a:ext cx="370796" cy="507831"/>
          </a:xfrm>
          <a:prstGeom prst="rect">
            <a:avLst/>
          </a:prstGeom>
          <a:noFill/>
          <a:effectLst/>
        </p:spPr>
        <p:txBody>
          <a:bodyPr wrap="square">
            <a:spAutoFit/>
          </a:bodyPr>
          <a:lstStyle/>
          <a:p>
            <a:r>
              <a:rPr lang="pt-BR" sz="1600" b="1" dirty="0">
                <a:solidFill>
                  <a:schemeClr val="bg1"/>
                </a:solidFill>
                <a:latin typeface="Candara" panose="020E0502030303020204" pitchFamily="34" charset="0"/>
              </a:rPr>
              <a:t>9</a:t>
            </a:r>
          </a:p>
          <a:p>
            <a:r>
              <a:rPr lang="pt-BR" sz="1100" b="1" dirty="0">
                <a:latin typeface="Candara" panose="020E0502030303020204" pitchFamily="34" charset="0"/>
              </a:rPr>
              <a:t> </a:t>
            </a:r>
            <a:endParaRPr lang="pt-BR" sz="1100" dirty="0">
              <a:latin typeface="Candara" panose="020E0502030303020204" pitchFamily="34" charset="0"/>
            </a:endParaRPr>
          </a:p>
        </p:txBody>
      </p:sp>
      <p:sp>
        <p:nvSpPr>
          <p:cNvPr id="62" name="CaixaDeTexto 61">
            <a:extLst>
              <a:ext uri="{FF2B5EF4-FFF2-40B4-BE49-F238E27FC236}">
                <a16:creationId xmlns:a16="http://schemas.microsoft.com/office/drawing/2014/main" id="{52600F59-A684-E338-169D-D00FB96FA353}"/>
              </a:ext>
            </a:extLst>
          </p:cNvPr>
          <p:cNvSpPr txBox="1"/>
          <p:nvPr/>
        </p:nvSpPr>
        <p:spPr>
          <a:xfrm>
            <a:off x="8622100" y="4412451"/>
            <a:ext cx="2693477" cy="830997"/>
          </a:xfrm>
          <a:prstGeom prst="rect">
            <a:avLst/>
          </a:prstGeom>
          <a:noFill/>
          <a:effectLst/>
        </p:spPr>
        <p:txBody>
          <a:bodyPr wrap="square">
            <a:spAutoFit/>
          </a:bodyPr>
          <a:lstStyle/>
          <a:p>
            <a:r>
              <a:rPr lang="pt-BR" sz="2400" dirty="0">
                <a:latin typeface="Candara" panose="020E0502030303020204" pitchFamily="34" charset="0"/>
              </a:rPr>
              <a:t>  </a:t>
            </a:r>
            <a:r>
              <a:rPr lang="pt-BR" sz="2000" dirty="0">
                <a:solidFill>
                  <a:schemeClr val="bg1"/>
                </a:solidFill>
                <a:latin typeface="Candara" panose="020E0502030303020204" pitchFamily="34" charset="0"/>
              </a:rPr>
              <a:t>Botão para ligar</a:t>
            </a:r>
          </a:p>
          <a:p>
            <a:r>
              <a:rPr lang="pt-BR" sz="2400" b="1" dirty="0">
                <a:latin typeface="Candara" panose="020E0502030303020204" pitchFamily="34" charset="0"/>
              </a:rPr>
              <a:t> </a:t>
            </a:r>
            <a:endParaRPr lang="pt-BR" sz="2400" dirty="0">
              <a:latin typeface="Candara" panose="020E0502030303020204" pitchFamily="34" charset="0"/>
            </a:endParaRPr>
          </a:p>
        </p:txBody>
      </p:sp>
      <p:sp>
        <p:nvSpPr>
          <p:cNvPr id="63" name="CaixaDeTexto 62">
            <a:extLst>
              <a:ext uri="{FF2B5EF4-FFF2-40B4-BE49-F238E27FC236}">
                <a16:creationId xmlns:a16="http://schemas.microsoft.com/office/drawing/2014/main" id="{B6D0E694-252D-88F8-5F71-DA066D341C0D}"/>
              </a:ext>
            </a:extLst>
          </p:cNvPr>
          <p:cNvSpPr txBox="1"/>
          <p:nvPr/>
        </p:nvSpPr>
        <p:spPr>
          <a:xfrm>
            <a:off x="8622100" y="5073141"/>
            <a:ext cx="2325838" cy="830997"/>
          </a:xfrm>
          <a:prstGeom prst="rect">
            <a:avLst/>
          </a:prstGeom>
          <a:noFill/>
          <a:effectLst/>
        </p:spPr>
        <p:txBody>
          <a:bodyPr wrap="square">
            <a:spAutoFit/>
          </a:bodyPr>
          <a:lstStyle/>
          <a:p>
            <a:r>
              <a:rPr lang="pt-BR" sz="2400" dirty="0">
                <a:solidFill>
                  <a:schemeClr val="bg1"/>
                </a:solidFill>
                <a:latin typeface="Candara" panose="020E0502030303020204" pitchFamily="34" charset="0"/>
              </a:rPr>
              <a:t>  </a:t>
            </a:r>
            <a:r>
              <a:rPr lang="pt-BR" sz="2000" dirty="0">
                <a:solidFill>
                  <a:schemeClr val="bg1"/>
                </a:solidFill>
                <a:latin typeface="Candara" panose="020E0502030303020204" pitchFamily="34" charset="0"/>
              </a:rPr>
              <a:t>Leitor cartão SD</a:t>
            </a:r>
          </a:p>
          <a:p>
            <a:r>
              <a:rPr lang="pt-BR" sz="2400" b="1" dirty="0">
                <a:latin typeface="Candara" panose="020E0502030303020204" pitchFamily="34" charset="0"/>
              </a:rPr>
              <a:t> </a:t>
            </a:r>
            <a:endParaRPr lang="pt-BR" sz="2400" dirty="0">
              <a:latin typeface="Candara" panose="020E0502030303020204" pitchFamily="34" charset="0"/>
            </a:endParaRPr>
          </a:p>
        </p:txBody>
      </p:sp>
      <p:sp>
        <p:nvSpPr>
          <p:cNvPr id="1035" name="CaixaDeTexto 1034">
            <a:extLst>
              <a:ext uri="{FF2B5EF4-FFF2-40B4-BE49-F238E27FC236}">
                <a16:creationId xmlns:a16="http://schemas.microsoft.com/office/drawing/2014/main" id="{5DD4BCEA-C3BF-A056-657E-C9B2CAA4A25A}"/>
              </a:ext>
            </a:extLst>
          </p:cNvPr>
          <p:cNvSpPr txBox="1"/>
          <p:nvPr/>
        </p:nvSpPr>
        <p:spPr>
          <a:xfrm>
            <a:off x="540497" y="5103692"/>
            <a:ext cx="370796" cy="507831"/>
          </a:xfrm>
          <a:prstGeom prst="rect">
            <a:avLst/>
          </a:prstGeom>
          <a:noFill/>
          <a:effectLst/>
        </p:spPr>
        <p:txBody>
          <a:bodyPr wrap="square">
            <a:spAutoFit/>
          </a:bodyPr>
          <a:lstStyle/>
          <a:p>
            <a:r>
              <a:rPr lang="pt-BR" sz="1600" b="1" dirty="0">
                <a:solidFill>
                  <a:schemeClr val="bg1"/>
                </a:solidFill>
                <a:latin typeface="Candara" panose="020E0502030303020204" pitchFamily="34" charset="0"/>
              </a:rPr>
              <a:t>2</a:t>
            </a:r>
          </a:p>
          <a:p>
            <a:r>
              <a:rPr lang="pt-BR" sz="1100" b="1" dirty="0">
                <a:latin typeface="Candara" panose="020E0502030303020204" pitchFamily="34" charset="0"/>
              </a:rPr>
              <a:t> </a:t>
            </a:r>
            <a:endParaRPr lang="pt-BR" sz="1100" dirty="0">
              <a:latin typeface="Candara" panose="020E0502030303020204" pitchFamily="34" charset="0"/>
            </a:endParaRPr>
          </a:p>
        </p:txBody>
      </p:sp>
      <p:sp>
        <p:nvSpPr>
          <p:cNvPr id="1072" name="CaixaDeTexto 1071">
            <a:extLst>
              <a:ext uri="{FF2B5EF4-FFF2-40B4-BE49-F238E27FC236}">
                <a16:creationId xmlns:a16="http://schemas.microsoft.com/office/drawing/2014/main" id="{65E588B6-5F1C-74CC-490D-156DD1535211}"/>
              </a:ext>
            </a:extLst>
          </p:cNvPr>
          <p:cNvSpPr txBox="1"/>
          <p:nvPr/>
        </p:nvSpPr>
        <p:spPr>
          <a:xfrm>
            <a:off x="8646803" y="5778771"/>
            <a:ext cx="3542255" cy="830997"/>
          </a:xfrm>
          <a:prstGeom prst="rect">
            <a:avLst/>
          </a:prstGeom>
          <a:noFill/>
          <a:effectLst/>
        </p:spPr>
        <p:txBody>
          <a:bodyPr wrap="square">
            <a:spAutoFit/>
          </a:bodyPr>
          <a:lstStyle/>
          <a:p>
            <a:r>
              <a:rPr lang="pt-BR" sz="2400" dirty="0">
                <a:latin typeface="Candara" panose="020E0502030303020204" pitchFamily="34" charset="0"/>
              </a:rPr>
              <a:t>  </a:t>
            </a:r>
            <a:r>
              <a:rPr lang="pt-BR" sz="2000" dirty="0">
                <a:solidFill>
                  <a:schemeClr val="bg1"/>
                </a:solidFill>
                <a:latin typeface="Candara" panose="020E0502030303020204" pitchFamily="34" charset="0"/>
              </a:rPr>
              <a:t>USB Tipo A</a:t>
            </a:r>
          </a:p>
          <a:p>
            <a:r>
              <a:rPr lang="pt-BR" sz="2400" b="1" dirty="0">
                <a:latin typeface="Candara" panose="020E0502030303020204" pitchFamily="34" charset="0"/>
              </a:rPr>
              <a:t> </a:t>
            </a:r>
            <a:endParaRPr lang="pt-BR" sz="2400" dirty="0">
              <a:latin typeface="Candara" panose="020E0502030303020204" pitchFamily="34" charset="0"/>
            </a:endParaRPr>
          </a:p>
        </p:txBody>
      </p:sp>
      <p:pic>
        <p:nvPicPr>
          <p:cNvPr id="1073" name="Gráfico 1072">
            <a:extLst>
              <a:ext uri="{FF2B5EF4-FFF2-40B4-BE49-F238E27FC236}">
                <a16:creationId xmlns:a16="http://schemas.microsoft.com/office/drawing/2014/main" id="{D240D0F6-55C4-0F43-48F5-B41B1557383F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1238614" y="1274018"/>
            <a:ext cx="557504" cy="557504"/>
          </a:xfrm>
          <a:prstGeom prst="rect">
            <a:avLst/>
          </a:prstGeom>
        </p:spPr>
      </p:pic>
      <p:sp>
        <p:nvSpPr>
          <p:cNvPr id="1074" name="CaixaDeTexto 1073">
            <a:extLst>
              <a:ext uri="{FF2B5EF4-FFF2-40B4-BE49-F238E27FC236}">
                <a16:creationId xmlns:a16="http://schemas.microsoft.com/office/drawing/2014/main" id="{12A0E790-DCB3-392F-91D4-B9D79B7E0AE3}"/>
              </a:ext>
            </a:extLst>
          </p:cNvPr>
          <p:cNvSpPr txBox="1"/>
          <p:nvPr/>
        </p:nvSpPr>
        <p:spPr>
          <a:xfrm>
            <a:off x="8784243" y="1174828"/>
            <a:ext cx="2537687" cy="1077218"/>
          </a:xfrm>
          <a:prstGeom prst="rect">
            <a:avLst/>
          </a:prstGeom>
          <a:noFill/>
          <a:effectLst/>
        </p:spPr>
        <p:txBody>
          <a:bodyPr wrap="square">
            <a:spAutoFit/>
          </a:bodyPr>
          <a:lstStyle/>
          <a:p>
            <a:r>
              <a:rPr lang="pt-BR" sz="4000" b="1" dirty="0">
                <a:solidFill>
                  <a:schemeClr val="bg1"/>
                </a:solidFill>
                <a:latin typeface="Candara" panose="020E0502030303020204" pitchFamily="34" charset="0"/>
              </a:rPr>
              <a:t>  </a:t>
            </a:r>
            <a:r>
              <a:rPr lang="pt-BR" sz="3600" b="1" dirty="0">
                <a:solidFill>
                  <a:schemeClr val="bg1"/>
                </a:solidFill>
                <a:latin typeface="Candara" panose="020E0502030303020204" pitchFamily="34" charset="0"/>
              </a:rPr>
              <a:t>Conexões</a:t>
            </a:r>
          </a:p>
          <a:p>
            <a:r>
              <a:rPr lang="pt-BR" sz="2400" b="1" dirty="0">
                <a:latin typeface="Candara" panose="020E0502030303020204" pitchFamily="34" charset="0"/>
              </a:rPr>
              <a:t> </a:t>
            </a:r>
            <a:endParaRPr lang="pt-BR" sz="2400" dirty="0">
              <a:latin typeface="Candara" panose="020E0502030303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72952798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6BBDCABE-2D3F-7E98-CA60-88C327EF1E0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m 4" descr="Uma imagem contendo no interior, computer, mesa, quarto&#10;&#10;O conteúdo gerado por IA pode estar incorreto.">
            <a:extLst>
              <a:ext uri="{FF2B5EF4-FFF2-40B4-BE49-F238E27FC236}">
                <a16:creationId xmlns:a16="http://schemas.microsoft.com/office/drawing/2014/main" id="{8287A6EE-A64A-DB37-FF34-E2B351A09E3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50069" y="-118993"/>
            <a:ext cx="7194332" cy="7280082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3" name="Imagem 2" descr="Interface gráfica do usuário&#10;&#10;O conteúdo gerado por IA pode estar incorreto.">
            <a:extLst>
              <a:ext uri="{FF2B5EF4-FFF2-40B4-BE49-F238E27FC236}">
                <a16:creationId xmlns:a16="http://schemas.microsoft.com/office/drawing/2014/main" id="{4F8B9AD5-2C78-AEA6-AB20-4A53A1F9B6D3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6447" y="248306"/>
            <a:ext cx="1371600" cy="561358"/>
          </a:xfrm>
          <a:prstGeom prst="rect">
            <a:avLst/>
          </a:prstGeom>
        </p:spPr>
      </p:pic>
      <p:pic>
        <p:nvPicPr>
          <p:cNvPr id="1026" name="Picture 2" descr="logo claro PNG &amp; clipart images | Citypng">
            <a:extLst>
              <a:ext uri="{FF2B5EF4-FFF2-40B4-BE49-F238E27FC236}">
                <a16:creationId xmlns:a16="http://schemas.microsoft.com/office/drawing/2014/main" id="{F11C7DCF-2835-52F6-B248-631DE70C5A0F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ackgroundRemoval t="8875" b="90500" l="9625" r="90375">
                        <a14:foregroundMark x1="35125" y1="42750" x2="35125" y2="42750"/>
                        <a14:foregroundMark x1="35250" y1="45125" x2="33750" y2="54125"/>
                        <a14:foregroundMark x1="33750" y1="54125" x2="41375" y2="48750"/>
                        <a14:foregroundMark x1="41375" y1="48750" x2="36875" y2="40375"/>
                        <a14:foregroundMark x1="36875" y1="40375" x2="31375" y2="43625"/>
                        <a14:foregroundMark x1="22000" y1="41875" x2="12375" y2="50500"/>
                        <a14:foregroundMark x1="12375" y1="50500" x2="25625" y2="62375"/>
                        <a14:foregroundMark x1="25625" y1="62375" x2="52750" y2="64125"/>
                        <a14:foregroundMark x1="52750" y1="64125" x2="73500" y2="62500"/>
                        <a14:foregroundMark x1="73500" y1="62500" x2="87375" y2="56375"/>
                        <a14:foregroundMark x1="87375" y1="56375" x2="87125" y2="45625"/>
                        <a14:foregroundMark x1="87125" y1="45625" x2="84625" y2="37625"/>
                        <a14:foregroundMark x1="84625" y1="37625" x2="76500" y2="32125"/>
                        <a14:foregroundMark x1="76500" y1="32125" x2="57500" y2="27250"/>
                        <a14:foregroundMark x1="57500" y1="27250" x2="20250" y2="28750"/>
                        <a14:foregroundMark x1="20250" y1="28750" x2="15750" y2="38375"/>
                        <a14:foregroundMark x1="15750" y1="38375" x2="12250" y2="41125"/>
                        <a14:foregroundMark x1="28375" y1="36125" x2="17625" y2="48125"/>
                        <a14:foregroundMark x1="17625" y1="48125" x2="23875" y2="57625"/>
                        <a14:foregroundMark x1="23875" y1="57625" x2="34500" y2="44000"/>
                        <a14:foregroundMark x1="34500" y1="44000" x2="21250" y2="39375"/>
                        <a14:foregroundMark x1="21250" y1="39375" x2="19250" y2="41250"/>
                        <a14:foregroundMark x1="26250" y1="40250" x2="27375" y2="52750"/>
                        <a14:foregroundMark x1="27375" y1="52750" x2="28875" y2="40125"/>
                        <a14:foregroundMark x1="28875" y1="40125" x2="18750" y2="45500"/>
                        <a14:foregroundMark x1="18750" y1="45500" x2="20750" y2="48625"/>
                        <a14:foregroundMark x1="26875" y1="40625" x2="27375" y2="58250"/>
                        <a14:foregroundMark x1="27375" y1="58250" x2="30625" y2="48375"/>
                        <a14:foregroundMark x1="30625" y1="48375" x2="20375" y2="51125"/>
                        <a14:foregroundMark x1="20375" y1="51125" x2="20375" y2="52375"/>
                        <a14:foregroundMark x1="19125" y1="42500" x2="25500" y2="55125"/>
                        <a14:foregroundMark x1="25500" y1="55125" x2="25125" y2="59500"/>
                        <a14:foregroundMark x1="22250" y1="56750" x2="21750" y2="58125"/>
                        <a14:foregroundMark x1="38500" y1="39875" x2="29750" y2="53250"/>
                        <a14:foregroundMark x1="29750" y1="53250" x2="34875" y2="62125"/>
                        <a14:foregroundMark x1="34875" y1="62125" x2="39750" y2="49375"/>
                        <a14:foregroundMark x1="39750" y1="49375" x2="36125" y2="43000"/>
                        <a14:foregroundMark x1="43375" y1="42375" x2="41000" y2="60750"/>
                        <a14:foregroundMark x1="41000" y1="60750" x2="51625" y2="47750"/>
                        <a14:foregroundMark x1="51625" y1="47750" x2="43375" y2="46875"/>
                        <a14:foregroundMark x1="43375" y1="46875" x2="41375" y2="48000"/>
                        <a14:foregroundMark x1="47125" y1="50750" x2="48375" y2="59000"/>
                        <a14:foregroundMark x1="48375" y1="59000" x2="45125" y2="53500"/>
                        <a14:foregroundMark x1="53625" y1="43250" x2="52125" y2="50125"/>
                        <a14:foregroundMark x1="52125" y1="50125" x2="54125" y2="58375"/>
                        <a14:foregroundMark x1="54125" y1="58375" x2="58125" y2="50500"/>
                        <a14:foregroundMark x1="58125" y1="50500" x2="53250" y2="45125"/>
                        <a14:foregroundMark x1="53250" y1="45125" x2="51500" y2="45375"/>
                        <a14:foregroundMark x1="58625" y1="42000" x2="59750" y2="52125"/>
                        <a14:foregroundMark x1="59750" y1="52125" x2="57750" y2="45000"/>
                        <a14:foregroundMark x1="63000" y1="45375" x2="61000" y2="62375"/>
                        <a14:foregroundMark x1="61000" y1="62375" x2="73375" y2="56375"/>
                        <a14:foregroundMark x1="73375" y1="56375" x2="72000" y2="45625"/>
                        <a14:foregroundMark x1="72000" y1="45625" x2="64375" y2="43500"/>
                        <a14:foregroundMark x1="64375" y1="43500" x2="61750" y2="33375"/>
                        <a14:foregroundMark x1="61750" y1="33375" x2="72625" y2="31250"/>
                        <a14:foregroundMark x1="72625" y1="31250" x2="67750" y2="44000"/>
                        <a14:foregroundMark x1="67750" y1="44000" x2="73125" y2="38125"/>
                        <a14:foregroundMark x1="73125" y1="38125" x2="81750" y2="37125"/>
                        <a14:foregroundMark x1="81750" y1="37125" x2="77625" y2="50250"/>
                        <a14:foregroundMark x1="77625" y1="50250" x2="81750" y2="52375"/>
                        <a14:foregroundMark x1="68875" y1="31750" x2="67125" y2="43250"/>
                        <a14:foregroundMark x1="67125" y1="43250" x2="69125" y2="34625"/>
                        <a14:foregroundMark x1="78750" y1="32500" x2="75250" y2="44500"/>
                        <a14:foregroundMark x1="75250" y1="44500" x2="79875" y2="36750"/>
                        <a14:foregroundMark x1="79875" y1="36750" x2="76875" y2="36375"/>
                        <a14:foregroundMark x1="78750" y1="46625" x2="80125" y2="55500"/>
                        <a14:foregroundMark x1="80125" y1="55500" x2="80750" y2="46125"/>
                        <a14:foregroundMark x1="80750" y1="46125" x2="77750" y2="45875"/>
                        <a14:foregroundMark x1="90375" y1="44000" x2="88750" y2="56375"/>
                        <a14:foregroundMark x1="45750" y1="10250" x2="57875" y2="11500"/>
                        <a14:foregroundMark x1="54125" y1="8875" x2="53500" y2="9125"/>
                        <a14:foregroundMark x1="49500" y1="90500" x2="54125" y2="89500"/>
                        <a14:foregroundMark x1="9625" y1="49625" x2="11000" y2="47125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3256" t="7288" r="7881" b="3666"/>
          <a:stretch>
            <a:fillRect/>
          </a:stretch>
        </p:blipFill>
        <p:spPr bwMode="auto">
          <a:xfrm>
            <a:off x="11238614" y="5890437"/>
            <a:ext cx="733648" cy="7351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Imagem 1" descr="Imagem em preto e branco de computador">
            <a:extLst>
              <a:ext uri="{FF2B5EF4-FFF2-40B4-BE49-F238E27FC236}">
                <a16:creationId xmlns:a16="http://schemas.microsoft.com/office/drawing/2014/main" id="{E2972F46-20DB-91F2-0F1C-6EBF8674C279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0109" r="46517"/>
          <a:stretch/>
        </p:blipFill>
        <p:spPr>
          <a:xfrm>
            <a:off x="10728248" y="21957"/>
            <a:ext cx="1371601" cy="1152460"/>
          </a:xfrm>
          <a:prstGeom prst="rect">
            <a:avLst/>
          </a:prstGeom>
          <a:ln>
            <a:noFill/>
          </a:ln>
          <a:effectLst>
            <a:outerShdw blurRad="50800" dist="88900" dir="8100000" algn="tr" rotWithShape="0">
              <a:prstClr val="black">
                <a:alpha val="25000"/>
              </a:prstClr>
            </a:outerShdw>
          </a:effectLst>
        </p:spPr>
      </p:pic>
      <p:pic>
        <p:nvPicPr>
          <p:cNvPr id="4" name="Imagem 3" descr="Logotipo&#10;&#10;O conteúdo gerado por IA pode estar incorreto.">
            <a:extLst>
              <a:ext uri="{FF2B5EF4-FFF2-40B4-BE49-F238E27FC236}">
                <a16:creationId xmlns:a16="http://schemas.microsoft.com/office/drawing/2014/main" id="{FAF8DE04-8C0C-4661-1EB1-8B05575EEFD8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76167" y="277459"/>
            <a:ext cx="2339162" cy="696413"/>
          </a:xfrm>
          <a:prstGeom prst="rect">
            <a:avLst/>
          </a:prstGeom>
        </p:spPr>
      </p:pic>
      <p:sp>
        <p:nvSpPr>
          <p:cNvPr id="6" name="CaixaDeTexto 5">
            <a:extLst>
              <a:ext uri="{FF2B5EF4-FFF2-40B4-BE49-F238E27FC236}">
                <a16:creationId xmlns:a16="http://schemas.microsoft.com/office/drawing/2014/main" id="{2F678D3B-E9CD-EC0D-6AAB-B821464A7696}"/>
              </a:ext>
            </a:extLst>
          </p:cNvPr>
          <p:cNvSpPr txBox="1"/>
          <p:nvPr/>
        </p:nvSpPr>
        <p:spPr>
          <a:xfrm>
            <a:off x="819609" y="4221018"/>
            <a:ext cx="5761038" cy="1938992"/>
          </a:xfrm>
          <a:prstGeom prst="rect">
            <a:avLst/>
          </a:prstGeom>
          <a:noFill/>
          <a:effectLst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pt-BR" sz="2400" dirty="0">
                <a:solidFill>
                  <a:schemeClr val="bg1"/>
                </a:solidFill>
                <a:latin typeface="Candara" panose="020E0502030303020204" pitchFamily="34" charset="0"/>
              </a:rPr>
              <a:t>WI-FI 6 possibilita a conexão de vários aparelhos simultaneamente na mesma rede sem perder o desempenho, com ganho de até 40% para executar as tarefas com maior velocidade.</a:t>
            </a:r>
          </a:p>
        </p:txBody>
      </p:sp>
      <p:pic>
        <p:nvPicPr>
          <p:cNvPr id="8" name="Picture 4" descr="Linfortel - Site Oficial - Internet 100% Fibra Óptica">
            <a:extLst>
              <a:ext uri="{FF2B5EF4-FFF2-40B4-BE49-F238E27FC236}">
                <a16:creationId xmlns:a16="http://schemas.microsoft.com/office/drawing/2014/main" id="{5DCDC641-3663-F9DB-FE08-DCF9C1BF300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89593" y="3085290"/>
            <a:ext cx="2381382" cy="8142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2">
            <a:extLst>
              <a:ext uri="{FF2B5EF4-FFF2-40B4-BE49-F238E27FC236}">
                <a16:creationId xmlns:a16="http://schemas.microsoft.com/office/drawing/2014/main" id="{69C992F3-63E8-2A98-D945-13F02239613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54036" y="809664"/>
            <a:ext cx="2073338" cy="210828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85857490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D57DA541-5312-CFF5-6225-693B8F3B537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m 2" descr="Interface gráfica do usuário&#10;&#10;O conteúdo gerado por IA pode estar incorreto.">
            <a:extLst>
              <a:ext uri="{FF2B5EF4-FFF2-40B4-BE49-F238E27FC236}">
                <a16:creationId xmlns:a16="http://schemas.microsoft.com/office/drawing/2014/main" id="{F41F02D6-39B5-5173-7CE6-0B830ED4CFC4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6447" y="248306"/>
            <a:ext cx="1371600" cy="561358"/>
          </a:xfrm>
          <a:prstGeom prst="rect">
            <a:avLst/>
          </a:prstGeom>
        </p:spPr>
      </p:pic>
      <p:pic>
        <p:nvPicPr>
          <p:cNvPr id="1026" name="Picture 2" descr="logo claro PNG &amp; clipart images | Citypng">
            <a:extLst>
              <a:ext uri="{FF2B5EF4-FFF2-40B4-BE49-F238E27FC236}">
                <a16:creationId xmlns:a16="http://schemas.microsoft.com/office/drawing/2014/main" id="{6FA2147E-C74B-D92F-AD27-3959306C604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ackgroundRemoval t="8875" b="90500" l="9625" r="90375">
                        <a14:foregroundMark x1="35125" y1="42750" x2="35125" y2="42750"/>
                        <a14:foregroundMark x1="35250" y1="45125" x2="33750" y2="54125"/>
                        <a14:foregroundMark x1="33750" y1="54125" x2="41375" y2="48750"/>
                        <a14:foregroundMark x1="41375" y1="48750" x2="36875" y2="40375"/>
                        <a14:foregroundMark x1="36875" y1="40375" x2="31375" y2="43625"/>
                        <a14:foregroundMark x1="22000" y1="41875" x2="12375" y2="50500"/>
                        <a14:foregroundMark x1="12375" y1="50500" x2="25625" y2="62375"/>
                        <a14:foregroundMark x1="25625" y1="62375" x2="52750" y2="64125"/>
                        <a14:foregroundMark x1="52750" y1="64125" x2="73500" y2="62500"/>
                        <a14:foregroundMark x1="73500" y1="62500" x2="87375" y2="56375"/>
                        <a14:foregroundMark x1="87375" y1="56375" x2="87125" y2="45625"/>
                        <a14:foregroundMark x1="87125" y1="45625" x2="84625" y2="37625"/>
                        <a14:foregroundMark x1="84625" y1="37625" x2="76500" y2="32125"/>
                        <a14:foregroundMark x1="76500" y1="32125" x2="57500" y2="27250"/>
                        <a14:foregroundMark x1="57500" y1="27250" x2="20250" y2="28750"/>
                        <a14:foregroundMark x1="20250" y1="28750" x2="15750" y2="38375"/>
                        <a14:foregroundMark x1="15750" y1="38375" x2="12250" y2="41125"/>
                        <a14:foregroundMark x1="28375" y1="36125" x2="17625" y2="48125"/>
                        <a14:foregroundMark x1="17625" y1="48125" x2="23875" y2="57625"/>
                        <a14:foregroundMark x1="23875" y1="57625" x2="34500" y2="44000"/>
                        <a14:foregroundMark x1="34500" y1="44000" x2="21250" y2="39375"/>
                        <a14:foregroundMark x1="21250" y1="39375" x2="19250" y2="41250"/>
                        <a14:foregroundMark x1="26250" y1="40250" x2="27375" y2="52750"/>
                        <a14:foregroundMark x1="27375" y1="52750" x2="28875" y2="40125"/>
                        <a14:foregroundMark x1="28875" y1="40125" x2="18750" y2="45500"/>
                        <a14:foregroundMark x1="18750" y1="45500" x2="20750" y2="48625"/>
                        <a14:foregroundMark x1="26875" y1="40625" x2="27375" y2="58250"/>
                        <a14:foregroundMark x1="27375" y1="58250" x2="30625" y2="48375"/>
                        <a14:foregroundMark x1="30625" y1="48375" x2="20375" y2="51125"/>
                        <a14:foregroundMark x1="20375" y1="51125" x2="20375" y2="52375"/>
                        <a14:foregroundMark x1="19125" y1="42500" x2="25500" y2="55125"/>
                        <a14:foregroundMark x1="25500" y1="55125" x2="25125" y2="59500"/>
                        <a14:foregroundMark x1="22250" y1="56750" x2="21750" y2="58125"/>
                        <a14:foregroundMark x1="38500" y1="39875" x2="29750" y2="53250"/>
                        <a14:foregroundMark x1="29750" y1="53250" x2="34875" y2="62125"/>
                        <a14:foregroundMark x1="34875" y1="62125" x2="39750" y2="49375"/>
                        <a14:foregroundMark x1="39750" y1="49375" x2="36125" y2="43000"/>
                        <a14:foregroundMark x1="43375" y1="42375" x2="41000" y2="60750"/>
                        <a14:foregroundMark x1="41000" y1="60750" x2="51625" y2="47750"/>
                        <a14:foregroundMark x1="51625" y1="47750" x2="43375" y2="46875"/>
                        <a14:foregroundMark x1="43375" y1="46875" x2="41375" y2="48000"/>
                        <a14:foregroundMark x1="47125" y1="50750" x2="48375" y2="59000"/>
                        <a14:foregroundMark x1="48375" y1="59000" x2="45125" y2="53500"/>
                        <a14:foregroundMark x1="53625" y1="43250" x2="52125" y2="50125"/>
                        <a14:foregroundMark x1="52125" y1="50125" x2="54125" y2="58375"/>
                        <a14:foregroundMark x1="54125" y1="58375" x2="58125" y2="50500"/>
                        <a14:foregroundMark x1="58125" y1="50500" x2="53250" y2="45125"/>
                        <a14:foregroundMark x1="53250" y1="45125" x2="51500" y2="45375"/>
                        <a14:foregroundMark x1="58625" y1="42000" x2="59750" y2="52125"/>
                        <a14:foregroundMark x1="59750" y1="52125" x2="57750" y2="45000"/>
                        <a14:foregroundMark x1="63000" y1="45375" x2="61000" y2="62375"/>
                        <a14:foregroundMark x1="61000" y1="62375" x2="73375" y2="56375"/>
                        <a14:foregroundMark x1="73375" y1="56375" x2="72000" y2="45625"/>
                        <a14:foregroundMark x1="72000" y1="45625" x2="64375" y2="43500"/>
                        <a14:foregroundMark x1="64375" y1="43500" x2="61750" y2="33375"/>
                        <a14:foregroundMark x1="61750" y1="33375" x2="72625" y2="31250"/>
                        <a14:foregroundMark x1="72625" y1="31250" x2="67750" y2="44000"/>
                        <a14:foregroundMark x1="67750" y1="44000" x2="73125" y2="38125"/>
                        <a14:foregroundMark x1="73125" y1="38125" x2="81750" y2="37125"/>
                        <a14:foregroundMark x1="81750" y1="37125" x2="77625" y2="50250"/>
                        <a14:foregroundMark x1="77625" y1="50250" x2="81750" y2="52375"/>
                        <a14:foregroundMark x1="68875" y1="31750" x2="67125" y2="43250"/>
                        <a14:foregroundMark x1="67125" y1="43250" x2="69125" y2="34625"/>
                        <a14:foregroundMark x1="78750" y1="32500" x2="75250" y2="44500"/>
                        <a14:foregroundMark x1="75250" y1="44500" x2="79875" y2="36750"/>
                        <a14:foregroundMark x1="79875" y1="36750" x2="76875" y2="36375"/>
                        <a14:foregroundMark x1="78750" y1="46625" x2="80125" y2="55500"/>
                        <a14:foregroundMark x1="80125" y1="55500" x2="80750" y2="46125"/>
                        <a14:foregroundMark x1="80750" y1="46125" x2="77750" y2="45875"/>
                        <a14:foregroundMark x1="90375" y1="44000" x2="88750" y2="56375"/>
                        <a14:foregroundMark x1="45750" y1="10250" x2="57875" y2="11500"/>
                        <a14:foregroundMark x1="54125" y1="8875" x2="53500" y2="9125"/>
                        <a14:foregroundMark x1="49500" y1="90500" x2="54125" y2="89500"/>
                        <a14:foregroundMark x1="9625" y1="49625" x2="11000" y2="47125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3256" t="7288" r="7881" b="3666"/>
          <a:stretch>
            <a:fillRect/>
          </a:stretch>
        </p:blipFill>
        <p:spPr bwMode="auto">
          <a:xfrm>
            <a:off x="11238614" y="5890437"/>
            <a:ext cx="733648" cy="7351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Imagem 1" descr="Imagem em preto e branco de computador">
            <a:extLst>
              <a:ext uri="{FF2B5EF4-FFF2-40B4-BE49-F238E27FC236}">
                <a16:creationId xmlns:a16="http://schemas.microsoft.com/office/drawing/2014/main" id="{27F291F8-220C-3E86-5B24-1E373EDE3C12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0109" r="46517"/>
          <a:stretch/>
        </p:blipFill>
        <p:spPr>
          <a:xfrm>
            <a:off x="10728248" y="21957"/>
            <a:ext cx="1371601" cy="1152460"/>
          </a:xfrm>
          <a:prstGeom prst="rect">
            <a:avLst/>
          </a:prstGeom>
          <a:ln>
            <a:noFill/>
          </a:ln>
          <a:effectLst>
            <a:outerShdw blurRad="50800" dist="88900" dir="8100000" algn="tr" rotWithShape="0">
              <a:prstClr val="black">
                <a:alpha val="25000"/>
              </a:prstClr>
            </a:outerShdw>
          </a:effectLst>
        </p:spPr>
      </p:pic>
      <p:pic>
        <p:nvPicPr>
          <p:cNvPr id="4" name="Imagem 3" descr="Logotipo&#10;&#10;O conteúdo gerado por IA pode estar incorreto.">
            <a:extLst>
              <a:ext uri="{FF2B5EF4-FFF2-40B4-BE49-F238E27FC236}">
                <a16:creationId xmlns:a16="http://schemas.microsoft.com/office/drawing/2014/main" id="{14432ABD-0B64-D7A2-BF55-FA109F64B58E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76167" y="277459"/>
            <a:ext cx="2339162" cy="696413"/>
          </a:xfrm>
          <a:prstGeom prst="rect">
            <a:avLst/>
          </a:prstGeom>
        </p:spPr>
      </p:pic>
      <p:sp>
        <p:nvSpPr>
          <p:cNvPr id="7" name="圓角矩形 32">
            <a:extLst>
              <a:ext uri="{FF2B5EF4-FFF2-40B4-BE49-F238E27FC236}">
                <a16:creationId xmlns:a16="http://schemas.microsoft.com/office/drawing/2014/main" id="{A41ED1FC-498D-38A7-4C30-A23BCEFF6092}"/>
              </a:ext>
            </a:extLst>
          </p:cNvPr>
          <p:cNvSpPr/>
          <p:nvPr/>
        </p:nvSpPr>
        <p:spPr>
          <a:xfrm rot="5400000">
            <a:off x="4250481" y="239226"/>
            <a:ext cx="5606670" cy="7075966"/>
          </a:xfrm>
          <a:prstGeom prst="roundRect">
            <a:avLst>
              <a:gd name="adj" fmla="val 4696"/>
            </a:avLst>
          </a:prstGeom>
          <a:noFill/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2640" tIns="182640" rIns="182640" bIns="182640" rtlCol="0" anchor="t"/>
          <a:lstStyle/>
          <a:p>
            <a:pPr defTabSz="913030">
              <a:defRPr/>
            </a:pPr>
            <a:endParaRPr kumimoji="1" lang="pt-BR" sz="1600" dirty="0">
              <a:solidFill>
                <a:prstClr val="white"/>
              </a:solidFill>
              <a:latin typeface="Calibri" panose="020F0502020204030204"/>
              <a:ea typeface="新細明體" panose="02020500000000000000" pitchFamily="18" charset="-120"/>
            </a:endParaRPr>
          </a:p>
        </p:txBody>
      </p:sp>
      <p:graphicFrame>
        <p:nvGraphicFramePr>
          <p:cNvPr id="10" name="Group 68">
            <a:extLst>
              <a:ext uri="{FF2B5EF4-FFF2-40B4-BE49-F238E27FC236}">
                <a16:creationId xmlns:a16="http://schemas.microsoft.com/office/drawing/2014/main" id="{70193087-B89E-0AC6-4C5B-63D83F12CC2C}"/>
              </a:ext>
            </a:extLst>
          </p:cNvPr>
          <p:cNvGraphicFramePr>
            <a:graphicFrameLocks noGrp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4734809"/>
              </p:ext>
            </p:extLst>
          </p:nvPr>
        </p:nvGraphicFramePr>
        <p:xfrm>
          <a:off x="3771900" y="1174417"/>
          <a:ext cx="6629400" cy="5359106"/>
        </p:xfrm>
        <a:graphic>
          <a:graphicData uri="http://schemas.openxmlformats.org/drawingml/2006/table">
            <a:tbl>
              <a:tblPr/>
              <a:tblGrid>
                <a:gridCol w="149351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13588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255913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pt-BR" sz="1400" b="1" i="0" u="none" strike="noStrike" cap="none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ndara" panose="020E0502030303020204" pitchFamily="34" charset="0"/>
                          <a:ea typeface="SimSun" panose="02010600030101010101" pitchFamily="2" charset="-122"/>
                        </a:rPr>
                        <a:t>Tela</a:t>
                      </a:r>
                    </a:p>
                  </a:txBody>
                  <a:tcPr marL="27001" marR="5995" marT="5993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pt-BR" sz="1200" b="1" i="0" u="none" strike="noStrike" kern="1200" cap="none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ndara" panose="020E0502030303020204" pitchFamily="34" charset="0"/>
                          <a:ea typeface="SimSun" panose="02010600030101010101" pitchFamily="2" charset="-122"/>
                          <a:cs typeface="+mn-cs"/>
                        </a:rPr>
                        <a:t>15,3” WUXGA(1920x 1200) IPS, </a:t>
                      </a:r>
                      <a:r>
                        <a:rPr kumimoji="0" lang="pt-BR" sz="1200" b="1" i="0" u="none" strike="noStrike" kern="1200" cap="none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ndara" panose="020E0502030303020204" pitchFamily="34" charset="0"/>
                          <a:ea typeface="Calibri" panose="020F0502020204030204"/>
                          <a:cs typeface="Calibri" panose="020F0502020204030204"/>
                          <a:sym typeface="Calibri" panose="020F0502020204030204"/>
                        </a:rPr>
                        <a:t>3</a:t>
                      </a:r>
                      <a:r>
                        <a:rPr lang="pt-BR" sz="1200" b="1" strike="noStrike" noProof="0" dirty="0">
                          <a:solidFill>
                            <a:schemeClr val="bg1"/>
                          </a:solidFill>
                          <a:latin typeface="Candara" panose="020E0502030303020204" pitchFamily="34" charset="0"/>
                          <a:ea typeface="Calibri" panose="020F0502020204030204"/>
                          <a:cs typeface="Calibri" panose="020F0502020204030204"/>
                          <a:sym typeface="Calibri" panose="020F0502020204030204"/>
                        </a:rPr>
                        <a:t>00nits. 60Hz</a:t>
                      </a:r>
                      <a:endParaRPr kumimoji="0" lang="pt-BR" sz="1200" b="1" i="0" u="none" strike="noStrike" kern="1200" cap="none" normalizeH="0" baseline="0" noProof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Candara" panose="020E0502030303020204" pitchFamily="34" charset="0"/>
                        <a:ea typeface="SimSun" panose="02010600030101010101" pitchFamily="2" charset="-122"/>
                        <a:cs typeface="+mn-cs"/>
                      </a:endParaRPr>
                    </a:p>
                  </a:txBody>
                  <a:tcPr marL="27001" marR="5995" marT="5993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72018699"/>
                  </a:ext>
                </a:extLst>
              </a:tr>
              <a:tr h="255913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pt-BR" sz="1400" b="1" i="0" u="none" strike="noStrike" cap="none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ndara" panose="020E0502030303020204" pitchFamily="34" charset="0"/>
                          <a:ea typeface="SimSun" panose="02010600030101010101" pitchFamily="2" charset="-122"/>
                        </a:rPr>
                        <a:t>Dimensões</a:t>
                      </a:r>
                    </a:p>
                  </a:txBody>
                  <a:tcPr marL="27001" marR="5995" marT="5993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F0000"/>
                        </a:buClr>
                        <a:buSzPct val="25000"/>
                        <a:buFont typeface="Calibri" panose="020F0502020204030204"/>
                        <a:buNone/>
                      </a:pPr>
                      <a:r>
                        <a:rPr lang="pt-BR" sz="1200" b="1" strike="noStrike" noProof="0" dirty="0">
                          <a:solidFill>
                            <a:schemeClr val="bg1"/>
                          </a:solidFill>
                          <a:latin typeface="Candara" panose="020E0502030303020204" pitchFamily="34" charset="0"/>
                          <a:ea typeface="Calibri" panose="020F0502020204030204"/>
                          <a:cs typeface="Calibri" panose="020F0502020204030204"/>
                          <a:sym typeface="Calibri" panose="020F0502020204030204"/>
                        </a:rPr>
                        <a:t>343.4x239.5x17.9 mm</a:t>
                      </a:r>
                    </a:p>
                  </a:txBody>
                  <a:tcPr marL="27001" marR="5995" marT="5993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6070912"/>
                  </a:ext>
                </a:extLst>
              </a:tr>
              <a:tr h="255913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BR" sz="1400" b="1" i="0" u="none" strike="noStrike" cap="none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ndara" panose="020E0502030303020204" pitchFamily="34" charset="0"/>
                          <a:ea typeface="SimSun" panose="02010600030101010101" pitchFamily="2" charset="-122"/>
                        </a:rPr>
                        <a:t>Peso</a:t>
                      </a:r>
                    </a:p>
                  </a:txBody>
                  <a:tcPr marL="27001" marR="5995" marT="5993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F0000"/>
                        </a:buClr>
                        <a:buSzPct val="25000"/>
                        <a:buFont typeface="Calibri" panose="020F0502020204030204"/>
                        <a:buNone/>
                      </a:pPr>
                      <a:r>
                        <a:rPr lang="pt-BR" sz="1200" b="1" strike="noStrike" noProof="0" dirty="0">
                          <a:solidFill>
                            <a:schemeClr val="bg1"/>
                          </a:solidFill>
                          <a:latin typeface="Candara" panose="020E0502030303020204" pitchFamily="34" charset="0"/>
                          <a:ea typeface="Calibri" panose="020F0502020204030204"/>
                          <a:cs typeface="Calibri" panose="020F0502020204030204"/>
                          <a:sym typeface="Calibri" panose="020F0502020204030204"/>
                        </a:rPr>
                        <a:t>1.59 KG</a:t>
                      </a:r>
                    </a:p>
                  </a:txBody>
                  <a:tcPr marL="27001" marR="5995" marT="5993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50175490"/>
                  </a:ext>
                </a:extLst>
              </a:tr>
              <a:tr h="502145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pt-BR" sz="1400" b="1" i="0" u="none" strike="noStrike" cap="none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ndara" panose="020E0502030303020204" pitchFamily="34" charset="0"/>
                          <a:ea typeface="SimSun" panose="02010600030101010101" pitchFamily="2" charset="-122"/>
                        </a:rPr>
                        <a:t>Processador</a:t>
                      </a:r>
                    </a:p>
                  </a:txBody>
                  <a:tcPr marL="27001" marR="5995" marT="5993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200" b="1" i="0" kern="1200" noProof="0" dirty="0">
                          <a:solidFill>
                            <a:schemeClr val="bg1"/>
                          </a:solidFill>
                          <a:effectLst/>
                          <a:latin typeface="Candara" panose="020E0502030303020204" pitchFamily="34" charset="0"/>
                          <a:ea typeface="+mn-ea"/>
                          <a:cs typeface="+mn-cs"/>
                        </a:rPr>
                        <a:t>Intel</a:t>
                      </a:r>
                      <a:r>
                        <a:rPr lang="pt-BR" sz="1800" b="1" i="0" kern="1200" dirty="0">
                          <a:solidFill>
                            <a:schemeClr val="bg1"/>
                          </a:solidFill>
                          <a:effectLst/>
                          <a:latin typeface="Candara" panose="020E0502030303020204" pitchFamily="34" charset="0"/>
                          <a:ea typeface="+mn-ea"/>
                          <a:cs typeface="+mn-cs"/>
                        </a:rPr>
                        <a:t>® </a:t>
                      </a:r>
                      <a:r>
                        <a:rPr lang="pt-BR" sz="1200" b="1" i="0" kern="1200" noProof="0" dirty="0">
                          <a:solidFill>
                            <a:schemeClr val="bg1"/>
                          </a:solidFill>
                          <a:effectLst/>
                          <a:latin typeface="Candara" panose="020E0502030303020204" pitchFamily="34" charset="0"/>
                          <a:ea typeface="+mn-ea"/>
                          <a:cs typeface="+mn-cs"/>
                        </a:rPr>
                        <a:t>Core</a:t>
                      </a:r>
                      <a:r>
                        <a:rPr lang="pt-BR" sz="1800" b="1" i="0" kern="1200" dirty="0">
                          <a:solidFill>
                            <a:schemeClr val="bg1"/>
                          </a:solidFill>
                          <a:effectLst/>
                          <a:latin typeface="Candara" panose="020E0502030303020204" pitchFamily="34" charset="0"/>
                          <a:ea typeface="+mn-ea"/>
                          <a:cs typeface="+mn-cs"/>
                        </a:rPr>
                        <a:t>™ </a:t>
                      </a:r>
                      <a:r>
                        <a:rPr lang="pt-BR" sz="1200" b="1" i="0" kern="1200" dirty="0">
                          <a:solidFill>
                            <a:schemeClr val="bg1"/>
                          </a:solidFill>
                          <a:effectLst/>
                          <a:latin typeface="Candara" panose="020E0502030303020204" pitchFamily="34" charset="0"/>
                          <a:ea typeface="+mn-ea"/>
                          <a:cs typeface="+mn-cs"/>
                        </a:rPr>
                        <a:t>i5-13420H</a:t>
                      </a:r>
                      <a:endParaRPr lang="pt-BR" sz="1200" b="1" i="0" kern="1200" noProof="0" dirty="0">
                        <a:solidFill>
                          <a:schemeClr val="bg1"/>
                        </a:solidFill>
                        <a:effectLst/>
                        <a:latin typeface="Candara" panose="020E0502030303020204" pitchFamily="34" charset="0"/>
                        <a:ea typeface="+mn-ea"/>
                        <a:cs typeface="+mn-cs"/>
                      </a:endParaRPr>
                    </a:p>
                  </a:txBody>
                  <a:tcPr marL="27001" marR="5995" marT="5993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520393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pt-BR" sz="1400" b="1" i="0" u="none" strike="noStrike" cap="none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ndara" panose="020E0502030303020204" pitchFamily="34" charset="0"/>
                          <a:ea typeface="SimSun" panose="02010600030101010101" pitchFamily="2" charset="-122"/>
                        </a:rPr>
                        <a:t>Sistema Operacional</a:t>
                      </a:r>
                    </a:p>
                  </a:txBody>
                  <a:tcPr marL="27001" marR="5995" marT="5993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pt-BR" sz="1200" b="1" i="0" u="none" strike="noStrike" cap="none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ndara" panose="020E0502030303020204" pitchFamily="34" charset="0"/>
                          <a:ea typeface="SimSun" panose="02010600030101010101" pitchFamily="2" charset="-122"/>
                        </a:rPr>
                        <a:t>Windows 11 Home</a:t>
                      </a:r>
                    </a:p>
                  </a:txBody>
                  <a:tcPr marL="27001" marR="5995" marT="5993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15490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pt-BR" sz="1400" b="1" i="0" u="none" strike="noStrike" cap="none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ndara" panose="020E0502030303020204" pitchFamily="34" charset="0"/>
                          <a:ea typeface="SimSun" panose="02010600030101010101" pitchFamily="2" charset="-122"/>
                        </a:rPr>
                        <a:t>Câmera</a:t>
                      </a:r>
                    </a:p>
                  </a:txBody>
                  <a:tcPr marL="27001" marR="5995" marT="5993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BR" sz="1200" b="1" i="0" u="none" strike="noStrike" cap="none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ndara" panose="020E0502030303020204" pitchFamily="34" charset="0"/>
                          <a:ea typeface="SimSun" panose="02010600030101010101" pitchFamily="2" charset="-122"/>
                        </a:rPr>
                        <a:t>720p com bloqueador físico de privacidade</a:t>
                      </a:r>
                    </a:p>
                  </a:txBody>
                  <a:tcPr marL="27001" marR="5995" marT="5993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547849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pt-BR" sz="1400" b="1" i="0" u="none" strike="noStrike" cap="none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ndara" panose="020E0502030303020204" pitchFamily="34" charset="0"/>
                          <a:ea typeface="SimSun" panose="02010600030101010101" pitchFamily="2" charset="-122"/>
                        </a:rPr>
                        <a:t>Memória + </a:t>
                      </a:r>
                      <a:r>
                        <a:rPr kumimoji="0" lang="pt-BR" sz="1200" b="1" i="0" u="none" strike="noStrike" cap="none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ndara" panose="020E0502030303020204" pitchFamily="34" charset="0"/>
                          <a:ea typeface="SimSun" panose="02010600030101010101" pitchFamily="2" charset="-122"/>
                        </a:rPr>
                        <a:t>Armazenamento</a:t>
                      </a:r>
                      <a:endParaRPr kumimoji="0" lang="pt-BR" sz="1400" b="1" i="0" u="none" strike="noStrike" cap="none" normalizeH="0" baseline="0" noProof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Candara" panose="020E0502030303020204" pitchFamily="34" charset="0"/>
                        <a:ea typeface="SimSun" panose="02010600030101010101" pitchFamily="2" charset="-122"/>
                      </a:endParaRPr>
                    </a:p>
                  </a:txBody>
                  <a:tcPr marL="27001" marR="5995" marT="5993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pt-BR" sz="1200" b="1" i="0" u="none" strike="noStrike" kern="1200" cap="none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ndara" panose="020E0502030303020204" pitchFamily="34" charset="0"/>
                          <a:ea typeface="SimSun" panose="02010600030101010101" pitchFamily="2" charset="-122"/>
                          <a:cs typeface="+mn-cs"/>
                        </a:rPr>
                        <a:t>8GB DDR5 4800Mhz(Soldado) Suporta até 24GB(Slot Livre)</a:t>
                      </a:r>
                    </a:p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pt-BR" sz="1200" b="1" i="0" u="none" strike="noStrike" kern="1200" cap="none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ndara" panose="020E0502030303020204" pitchFamily="34" charset="0"/>
                          <a:ea typeface="SimSun" panose="02010600030101010101" pitchFamily="2" charset="-122"/>
                          <a:cs typeface="+mn-cs"/>
                        </a:rPr>
                        <a:t>512 SSD NVME M.2 2242 PCIe</a:t>
                      </a:r>
                      <a:r>
                        <a:rPr lang="pt-BR" sz="1200" b="1" i="0" kern="1200" dirty="0">
                          <a:solidFill>
                            <a:schemeClr val="bg1"/>
                          </a:solidFill>
                          <a:effectLst/>
                          <a:latin typeface="Candara" panose="020E0502030303020204" pitchFamily="34" charset="0"/>
                          <a:ea typeface="+mn-ea"/>
                          <a:cs typeface="+mn-cs"/>
                        </a:rPr>
                        <a:t>® 4.0 </a:t>
                      </a:r>
                      <a:r>
                        <a:rPr kumimoji="0" lang="pt-BR" sz="1200" b="1" i="0" u="none" strike="noStrike" kern="1200" cap="none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ndara" panose="020E0502030303020204" pitchFamily="34" charset="0"/>
                          <a:ea typeface="SimSun" panose="02010600030101010101" pitchFamily="2" charset="-122"/>
                          <a:cs typeface="+mn-cs"/>
                        </a:rPr>
                        <a:t>( + 1 Slot livre, suporta até 1TB)</a:t>
                      </a:r>
                    </a:p>
                  </a:txBody>
                  <a:tcPr marL="27001" marR="5995" marT="5993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502229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pt-BR" sz="1400" b="1" i="0" u="none" strike="noStrike" kern="1200" cap="none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ndara" panose="020E0502030303020204" pitchFamily="34" charset="0"/>
                          <a:ea typeface="SimSun" panose="02010600030101010101" pitchFamily="2" charset="-122"/>
                          <a:cs typeface="+mn-cs"/>
                        </a:rPr>
                        <a:t>Conectividade</a:t>
                      </a:r>
                    </a:p>
                  </a:txBody>
                  <a:tcPr marL="27001" marR="5995" marT="5993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pt-BR" sz="1200" b="1" i="0" u="none" strike="noStrike" kern="1200" cap="none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ndara" panose="020E0502030303020204" pitchFamily="34" charset="0"/>
                          <a:ea typeface="SimSun" panose="02010600030101010101" pitchFamily="2" charset="-122"/>
                          <a:cs typeface="+mn-cs"/>
                        </a:rPr>
                        <a:t>Wi-Fi</a:t>
                      </a:r>
                      <a:r>
                        <a:rPr lang="pt-BR" sz="1400" b="1" i="0" kern="1200" dirty="0">
                          <a:solidFill>
                            <a:schemeClr val="bg1"/>
                          </a:solidFill>
                          <a:effectLst/>
                          <a:latin typeface="Candara" panose="020E0502030303020204" pitchFamily="34" charset="0"/>
                          <a:ea typeface="+mn-ea"/>
                          <a:cs typeface="+mn-cs"/>
                        </a:rPr>
                        <a:t>®</a:t>
                      </a:r>
                      <a:r>
                        <a:rPr kumimoji="0" lang="pt-BR" sz="1200" b="1" i="0" u="none" strike="noStrike" kern="1200" cap="none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ndara" panose="020E0502030303020204" pitchFamily="34" charset="0"/>
                          <a:ea typeface="SimSun" panose="02010600030101010101" pitchFamily="2" charset="-122"/>
                          <a:cs typeface="+mn-cs"/>
                        </a:rPr>
                        <a:t> 6 802.11ax 2x2</a:t>
                      </a:r>
                    </a:p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pt-BR" sz="1200" b="1" i="0" u="none" strike="noStrike" kern="1200" cap="none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ndara" panose="020E0502030303020204" pitchFamily="34" charset="0"/>
                          <a:ea typeface="SimSun" panose="02010600030101010101" pitchFamily="2" charset="-122"/>
                          <a:cs typeface="+mn-cs"/>
                        </a:rPr>
                        <a:t>BT 5.2</a:t>
                      </a:r>
                    </a:p>
                  </a:txBody>
                  <a:tcPr marL="27001" marR="5995" marT="5993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931163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pt-BR" sz="1400" b="1" i="0" u="none" strike="noStrike" cap="none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ndara" panose="020E0502030303020204" pitchFamily="34" charset="0"/>
                          <a:ea typeface="SimSun" panose="02010600030101010101" pitchFamily="2" charset="-122"/>
                        </a:rPr>
                        <a:t>Portas</a:t>
                      </a:r>
                    </a:p>
                  </a:txBody>
                  <a:tcPr marL="27001" marR="5995" marT="5993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pt-BR" sz="1200" b="1" i="0" u="none" strike="noStrike" cap="none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ndara" panose="020E0502030303020204" pitchFamily="34" charset="0"/>
                          <a:ea typeface="SimSun" panose="02010600030101010101" pitchFamily="2" charset="-122"/>
                        </a:rPr>
                        <a:t>2x USB-A (3.2 Gen1)</a:t>
                      </a:r>
                    </a:p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pt-BR" sz="1200" b="1" i="0" u="none" strike="noStrike" cap="none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ndara" panose="020E0502030303020204" pitchFamily="34" charset="0"/>
                          <a:ea typeface="SimSun" panose="02010600030101010101" pitchFamily="2" charset="-122"/>
                        </a:rPr>
                        <a:t>1X USB-C</a:t>
                      </a:r>
                      <a:r>
                        <a:rPr lang="pt-BR" sz="1200" b="1" i="0" kern="1200" dirty="0">
                          <a:solidFill>
                            <a:schemeClr val="bg1"/>
                          </a:solidFill>
                          <a:effectLst/>
                          <a:latin typeface="Candara" panose="020E0502030303020204" pitchFamily="34" charset="0"/>
                          <a:ea typeface="+mn-ea"/>
                          <a:cs typeface="+mn-cs"/>
                        </a:rPr>
                        <a:t>® (3.2 Gen1)</a:t>
                      </a:r>
                      <a:endParaRPr kumimoji="0" lang="pt-BR" sz="1200" b="1" i="0" u="none" strike="noStrike" cap="none" normalizeH="0" baseline="0" noProof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Candara" panose="020E0502030303020204" pitchFamily="34" charset="0"/>
                        <a:ea typeface="SimSun" panose="02010600030101010101" pitchFamily="2" charset="-122"/>
                      </a:endParaRPr>
                    </a:p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pt-BR" sz="1200" b="1" i="0" u="none" strike="noStrike" cap="none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ndara" panose="020E0502030303020204" pitchFamily="34" charset="0"/>
                          <a:ea typeface="SimSun" panose="02010600030101010101" pitchFamily="2" charset="-122"/>
                        </a:rPr>
                        <a:t>1X HDMI</a:t>
                      </a:r>
                      <a:r>
                        <a:rPr lang="pt-BR" sz="1200" b="1" i="0" kern="1200" dirty="0">
                          <a:solidFill>
                            <a:schemeClr val="bg1"/>
                          </a:solidFill>
                          <a:effectLst/>
                          <a:latin typeface="Candara" panose="020E0502030303020204" pitchFamily="34" charset="0"/>
                          <a:ea typeface="+mn-ea"/>
                          <a:cs typeface="+mn-cs"/>
                        </a:rPr>
                        <a:t>®</a:t>
                      </a:r>
                      <a:r>
                        <a:rPr kumimoji="0" lang="pt-BR" sz="1200" b="1" i="0" u="none" strike="noStrike" cap="none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ndara" panose="020E0502030303020204" pitchFamily="34" charset="0"/>
                          <a:ea typeface="SimSun" panose="02010600030101010101" pitchFamily="2" charset="-122"/>
                        </a:rPr>
                        <a:t> 1.4</a:t>
                      </a:r>
                    </a:p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pt-BR" sz="1200" b="1" i="0" u="none" strike="noStrike" cap="none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ndara" panose="020E0502030303020204" pitchFamily="34" charset="0"/>
                          <a:ea typeface="SimSun" panose="02010600030101010101" pitchFamily="2" charset="-122"/>
                        </a:rPr>
                        <a:t>1X COMBO JACK (Microfone/Fone de ouvido)</a:t>
                      </a:r>
                    </a:p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pt-BR" sz="1200" b="1" i="0" u="none" strike="noStrike" cap="none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ndara" panose="020E0502030303020204" pitchFamily="34" charset="0"/>
                          <a:ea typeface="SimSun" panose="02010600030101010101" pitchFamily="2" charset="-122"/>
                        </a:rPr>
                        <a:t>1X SD CARD</a:t>
                      </a:r>
                    </a:p>
                  </a:txBody>
                  <a:tcPr marL="27001" marR="5995" marT="5993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502145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pt-BR" sz="1400" b="1" i="0" u="none" strike="noStrike" cap="none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ndara" panose="020E0502030303020204" pitchFamily="34" charset="0"/>
                          <a:ea typeface="SimSun" panose="02010600030101010101" pitchFamily="2" charset="-122"/>
                        </a:rPr>
                        <a:t>Alto-Falantes</a:t>
                      </a:r>
                    </a:p>
                  </a:txBody>
                  <a:tcPr marL="27001" marR="5995" marT="5993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BR" sz="1200" b="1" i="0" u="none" strike="noStrike" kern="1200" cap="none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ndara" panose="020E0502030303020204" pitchFamily="34" charset="0"/>
                          <a:ea typeface="SimSun" panose="02010600030101010101" pitchFamily="2" charset="-122"/>
                          <a:cs typeface="+mn-cs"/>
                        </a:rPr>
                        <a:t>2 x </a:t>
                      </a:r>
                      <a:r>
                        <a:rPr lang="pt-BR" sz="1200" b="1" noProof="0" dirty="0">
                          <a:solidFill>
                            <a:schemeClr val="bg1"/>
                          </a:solidFill>
                          <a:latin typeface="Candara" panose="020E0502030303020204" pitchFamily="34" charset="0"/>
                        </a:rPr>
                        <a:t>alto-falante DolbyAudio</a:t>
                      </a:r>
                      <a:r>
                        <a:rPr lang="pt-BR" sz="1200" b="1" i="0" kern="1200" dirty="0">
                          <a:solidFill>
                            <a:schemeClr val="bg1"/>
                          </a:solidFill>
                          <a:effectLst/>
                          <a:latin typeface="Candara" panose="020E0502030303020204" pitchFamily="34" charset="0"/>
                          <a:ea typeface="+mn-ea"/>
                          <a:cs typeface="+mn-cs"/>
                        </a:rPr>
                        <a:t>™ </a:t>
                      </a:r>
                      <a:r>
                        <a:rPr lang="pt-BR" sz="1200" b="1" noProof="0" dirty="0">
                          <a:solidFill>
                            <a:schemeClr val="bg1"/>
                          </a:solidFill>
                          <a:latin typeface="Candara" panose="020E0502030303020204" pitchFamily="34" charset="0"/>
                        </a:rPr>
                        <a:t> </a:t>
                      </a:r>
                    </a:p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200" b="1" baseline="0" noProof="0" dirty="0">
                          <a:solidFill>
                            <a:schemeClr val="bg1"/>
                          </a:solidFill>
                          <a:latin typeface="Candara" panose="020E0502030303020204" pitchFamily="34" charset="0"/>
                        </a:rPr>
                        <a:t>2 </a:t>
                      </a:r>
                      <a:r>
                        <a:rPr kumimoji="0" lang="pt-BR" sz="1200" b="1" i="0" u="none" strike="noStrike" kern="1200" cap="none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ndara" panose="020E0502030303020204" pitchFamily="34" charset="0"/>
                          <a:ea typeface="SimSun" panose="02010600030101010101" pitchFamily="2" charset="-122"/>
                          <a:cs typeface="+mn-cs"/>
                        </a:rPr>
                        <a:t>x microfones Array</a:t>
                      </a:r>
                      <a:endParaRPr lang="pt-BR" sz="1200" b="1" noProof="0" dirty="0">
                        <a:solidFill>
                          <a:schemeClr val="bg1"/>
                        </a:solidFill>
                        <a:latin typeface="Candara" panose="020E0502030303020204" pitchFamily="34" charset="0"/>
                      </a:endParaRPr>
                    </a:p>
                  </a:txBody>
                  <a:tcPr marL="27001" marR="5995" marT="5993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386735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pt-BR" sz="1400" b="1" i="0" u="none" strike="noStrike" cap="none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ndara" panose="020E0502030303020204" pitchFamily="34" charset="0"/>
                          <a:ea typeface="SimSun" panose="02010600030101010101" pitchFamily="2" charset="-122"/>
                        </a:rPr>
                        <a:t>Placa de video</a:t>
                      </a:r>
                    </a:p>
                  </a:txBody>
                  <a:tcPr marL="27001" marR="5995" marT="5993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200" b="1" noProof="0" dirty="0">
                          <a:solidFill>
                            <a:schemeClr val="bg1"/>
                          </a:solidFill>
                          <a:latin typeface="Candara" panose="020E0502030303020204" pitchFamily="34" charset="0"/>
                          <a:cs typeface="Arial" pitchFamily="34" charset="0"/>
                        </a:rPr>
                        <a:t>Intel</a:t>
                      </a:r>
                      <a:r>
                        <a:rPr lang="pt-BR" sz="1200" b="1" i="0" kern="1200" dirty="0">
                          <a:solidFill>
                            <a:schemeClr val="bg1"/>
                          </a:solidFill>
                          <a:effectLst/>
                          <a:latin typeface="Candara" panose="020E0502030303020204" pitchFamily="34" charset="0"/>
                          <a:ea typeface="+mn-ea"/>
                          <a:cs typeface="+mn-cs"/>
                        </a:rPr>
                        <a:t>® UHD Graphics</a:t>
                      </a:r>
                      <a:endParaRPr lang="pt-BR" sz="1200" b="1" noProof="0" dirty="0">
                        <a:solidFill>
                          <a:schemeClr val="bg1"/>
                        </a:solidFill>
                        <a:latin typeface="Candara" panose="020E0502030303020204" pitchFamily="34" charset="0"/>
                        <a:cs typeface="Arial" pitchFamily="34" charset="0"/>
                      </a:endParaRPr>
                    </a:p>
                  </a:txBody>
                  <a:tcPr marL="27001" marR="5995" marT="5993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283218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pt-BR" sz="1800" b="1" i="0" u="none" strike="noStrike" cap="none" normalizeH="0" baseline="0" noProof="0" dirty="0">
                        <a:ln>
                          <a:noFill/>
                        </a:ln>
                        <a:gradFill>
                          <a:gsLst>
                            <a:gs pos="0">
                              <a:srgbClr val="8BBFF5"/>
                            </a:gs>
                            <a:gs pos="83000">
                              <a:schemeClr val="tx2"/>
                            </a:gs>
                          </a:gsLst>
                          <a:lin ang="3000000" scaled="0"/>
                        </a:gradFill>
                        <a:effectLst/>
                        <a:latin typeface="Candara" panose="020E0502030303020204" pitchFamily="34" charset="0"/>
                        <a:ea typeface="SimSun" panose="02010600030101010101" pitchFamily="2" charset="-122"/>
                      </a:endParaRPr>
                    </a:p>
                  </a:txBody>
                  <a:tcPr marL="27001" marR="5995" marT="5993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pt-BR" sz="1200" b="1" i="0" u="none" strike="noStrike" kern="1200" cap="none" normalizeH="0" baseline="0" noProof="0" dirty="0">
                        <a:ln>
                          <a:noFill/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effectLst/>
                        <a:latin typeface="Candara" panose="020E0502030303020204" pitchFamily="34" charset="0"/>
                        <a:ea typeface="SimSun" panose="02010600030101010101" pitchFamily="2" charset="-122"/>
                        <a:cs typeface="+mn-cs"/>
                      </a:endParaRPr>
                    </a:p>
                  </a:txBody>
                  <a:tcPr marL="27001" marR="5995" marT="5993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04625008"/>
                  </a:ext>
                </a:extLst>
              </a:tr>
            </a:tbl>
          </a:graphicData>
        </a:graphic>
      </p:graphicFrame>
      <p:pic>
        <p:nvPicPr>
          <p:cNvPr id="11" name="Imagem 10" descr="Imagem em preto e branco de computador&#10;&#10;O conteúdo gerado por IA pode estar incorreto.">
            <a:extLst>
              <a:ext uri="{FF2B5EF4-FFF2-40B4-BE49-F238E27FC236}">
                <a16:creationId xmlns:a16="http://schemas.microsoft.com/office/drawing/2014/main" id="{C8CC9393-F0F1-7BC7-14FE-A23C4C6EA7F5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6447" y="1608872"/>
            <a:ext cx="3253007" cy="32530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73467165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6B4003AA-B605-C5D6-D40A-6FA5D397DC0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m 2" descr="Interface gráfica do usuário&#10;&#10;O conteúdo gerado por IA pode estar incorreto.">
            <a:extLst>
              <a:ext uri="{FF2B5EF4-FFF2-40B4-BE49-F238E27FC236}">
                <a16:creationId xmlns:a16="http://schemas.microsoft.com/office/drawing/2014/main" id="{0FDC9AFF-D780-CE1E-F9B6-CA22A9D8A0C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6447" y="248306"/>
            <a:ext cx="1371600" cy="561358"/>
          </a:xfrm>
          <a:prstGeom prst="rect">
            <a:avLst/>
          </a:prstGeom>
        </p:spPr>
      </p:pic>
      <p:pic>
        <p:nvPicPr>
          <p:cNvPr id="1026" name="Picture 2" descr="logo claro PNG &amp; clipart images | Citypng">
            <a:extLst>
              <a:ext uri="{FF2B5EF4-FFF2-40B4-BE49-F238E27FC236}">
                <a16:creationId xmlns:a16="http://schemas.microsoft.com/office/drawing/2014/main" id="{3D9B63C8-0153-9010-F25A-F75D135ABE1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ackgroundRemoval t="8875" b="90500" l="9625" r="90375">
                        <a14:foregroundMark x1="35125" y1="42750" x2="35125" y2="42750"/>
                        <a14:foregroundMark x1="35250" y1="45125" x2="33750" y2="54125"/>
                        <a14:foregroundMark x1="33750" y1="54125" x2="41375" y2="48750"/>
                        <a14:foregroundMark x1="41375" y1="48750" x2="36875" y2="40375"/>
                        <a14:foregroundMark x1="36875" y1="40375" x2="31375" y2="43625"/>
                        <a14:foregroundMark x1="22000" y1="41875" x2="12375" y2="50500"/>
                        <a14:foregroundMark x1="12375" y1="50500" x2="25625" y2="62375"/>
                        <a14:foregroundMark x1="25625" y1="62375" x2="52750" y2="64125"/>
                        <a14:foregroundMark x1="52750" y1="64125" x2="73500" y2="62500"/>
                        <a14:foregroundMark x1="73500" y1="62500" x2="87375" y2="56375"/>
                        <a14:foregroundMark x1="87375" y1="56375" x2="87125" y2="45625"/>
                        <a14:foregroundMark x1="87125" y1="45625" x2="84625" y2="37625"/>
                        <a14:foregroundMark x1="84625" y1="37625" x2="76500" y2="32125"/>
                        <a14:foregroundMark x1="76500" y1="32125" x2="57500" y2="27250"/>
                        <a14:foregroundMark x1="57500" y1="27250" x2="20250" y2="28750"/>
                        <a14:foregroundMark x1="20250" y1="28750" x2="15750" y2="38375"/>
                        <a14:foregroundMark x1="15750" y1="38375" x2="12250" y2="41125"/>
                        <a14:foregroundMark x1="28375" y1="36125" x2="17625" y2="48125"/>
                        <a14:foregroundMark x1="17625" y1="48125" x2="23875" y2="57625"/>
                        <a14:foregroundMark x1="23875" y1="57625" x2="34500" y2="44000"/>
                        <a14:foregroundMark x1="34500" y1="44000" x2="21250" y2="39375"/>
                        <a14:foregroundMark x1="21250" y1="39375" x2="19250" y2="41250"/>
                        <a14:foregroundMark x1="26250" y1="40250" x2="27375" y2="52750"/>
                        <a14:foregroundMark x1="27375" y1="52750" x2="28875" y2="40125"/>
                        <a14:foregroundMark x1="28875" y1="40125" x2="18750" y2="45500"/>
                        <a14:foregroundMark x1="18750" y1="45500" x2="20750" y2="48625"/>
                        <a14:foregroundMark x1="26875" y1="40625" x2="27375" y2="58250"/>
                        <a14:foregroundMark x1="27375" y1="58250" x2="30625" y2="48375"/>
                        <a14:foregroundMark x1="30625" y1="48375" x2="20375" y2="51125"/>
                        <a14:foregroundMark x1="20375" y1="51125" x2="20375" y2="52375"/>
                        <a14:foregroundMark x1="19125" y1="42500" x2="25500" y2="55125"/>
                        <a14:foregroundMark x1="25500" y1="55125" x2="25125" y2="59500"/>
                        <a14:foregroundMark x1="22250" y1="56750" x2="21750" y2="58125"/>
                        <a14:foregroundMark x1="38500" y1="39875" x2="29750" y2="53250"/>
                        <a14:foregroundMark x1="29750" y1="53250" x2="34875" y2="62125"/>
                        <a14:foregroundMark x1="34875" y1="62125" x2="39750" y2="49375"/>
                        <a14:foregroundMark x1="39750" y1="49375" x2="36125" y2="43000"/>
                        <a14:foregroundMark x1="43375" y1="42375" x2="41000" y2="60750"/>
                        <a14:foregroundMark x1="41000" y1="60750" x2="51625" y2="47750"/>
                        <a14:foregroundMark x1="51625" y1="47750" x2="43375" y2="46875"/>
                        <a14:foregroundMark x1="43375" y1="46875" x2="41375" y2="48000"/>
                        <a14:foregroundMark x1="47125" y1="50750" x2="48375" y2="59000"/>
                        <a14:foregroundMark x1="48375" y1="59000" x2="45125" y2="53500"/>
                        <a14:foregroundMark x1="53625" y1="43250" x2="52125" y2="50125"/>
                        <a14:foregroundMark x1="52125" y1="50125" x2="54125" y2="58375"/>
                        <a14:foregroundMark x1="54125" y1="58375" x2="58125" y2="50500"/>
                        <a14:foregroundMark x1="58125" y1="50500" x2="53250" y2="45125"/>
                        <a14:foregroundMark x1="53250" y1="45125" x2="51500" y2="45375"/>
                        <a14:foregroundMark x1="58625" y1="42000" x2="59750" y2="52125"/>
                        <a14:foregroundMark x1="59750" y1="52125" x2="57750" y2="45000"/>
                        <a14:foregroundMark x1="63000" y1="45375" x2="61000" y2="62375"/>
                        <a14:foregroundMark x1="61000" y1="62375" x2="73375" y2="56375"/>
                        <a14:foregroundMark x1="73375" y1="56375" x2="72000" y2="45625"/>
                        <a14:foregroundMark x1="72000" y1="45625" x2="64375" y2="43500"/>
                        <a14:foregroundMark x1="64375" y1="43500" x2="61750" y2="33375"/>
                        <a14:foregroundMark x1="61750" y1="33375" x2="72625" y2="31250"/>
                        <a14:foregroundMark x1="72625" y1="31250" x2="67750" y2="44000"/>
                        <a14:foregroundMark x1="67750" y1="44000" x2="73125" y2="38125"/>
                        <a14:foregroundMark x1="73125" y1="38125" x2="81750" y2="37125"/>
                        <a14:foregroundMark x1="81750" y1="37125" x2="77625" y2="50250"/>
                        <a14:foregroundMark x1="77625" y1="50250" x2="81750" y2="52375"/>
                        <a14:foregroundMark x1="68875" y1="31750" x2="67125" y2="43250"/>
                        <a14:foregroundMark x1="67125" y1="43250" x2="69125" y2="34625"/>
                        <a14:foregroundMark x1="78750" y1="32500" x2="75250" y2="44500"/>
                        <a14:foregroundMark x1="75250" y1="44500" x2="79875" y2="36750"/>
                        <a14:foregroundMark x1="79875" y1="36750" x2="76875" y2="36375"/>
                        <a14:foregroundMark x1="78750" y1="46625" x2="80125" y2="55500"/>
                        <a14:foregroundMark x1="80125" y1="55500" x2="80750" y2="46125"/>
                        <a14:foregroundMark x1="80750" y1="46125" x2="77750" y2="45875"/>
                        <a14:foregroundMark x1="90375" y1="44000" x2="88750" y2="56375"/>
                        <a14:foregroundMark x1="45750" y1="10250" x2="57875" y2="11500"/>
                        <a14:foregroundMark x1="54125" y1="8875" x2="53500" y2="9125"/>
                        <a14:foregroundMark x1="49500" y1="90500" x2="54125" y2="89500"/>
                        <a14:foregroundMark x1="9625" y1="49625" x2="11000" y2="47125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3256" t="7288" r="7881" b="3666"/>
          <a:stretch>
            <a:fillRect/>
          </a:stretch>
        </p:blipFill>
        <p:spPr bwMode="auto">
          <a:xfrm>
            <a:off x="11238614" y="5890437"/>
            <a:ext cx="733648" cy="7351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Imagem 1" descr="Imagem em preto e branco de computador">
            <a:extLst>
              <a:ext uri="{FF2B5EF4-FFF2-40B4-BE49-F238E27FC236}">
                <a16:creationId xmlns:a16="http://schemas.microsoft.com/office/drawing/2014/main" id="{99AA6C73-B597-5006-DCC0-418F4B404DB2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0109" r="46517"/>
          <a:stretch/>
        </p:blipFill>
        <p:spPr>
          <a:xfrm>
            <a:off x="10728248" y="21957"/>
            <a:ext cx="1371601" cy="1152460"/>
          </a:xfrm>
          <a:prstGeom prst="rect">
            <a:avLst/>
          </a:prstGeom>
          <a:ln>
            <a:noFill/>
          </a:ln>
          <a:effectLst>
            <a:outerShdw blurRad="50800" dist="88900" dir="8100000" algn="tr" rotWithShape="0">
              <a:prstClr val="black">
                <a:alpha val="25000"/>
              </a:prstClr>
            </a:outerShdw>
          </a:effectLst>
        </p:spPr>
      </p:pic>
      <p:pic>
        <p:nvPicPr>
          <p:cNvPr id="4" name="Imagem 3" descr="Logotipo&#10;&#10;O conteúdo gerado por IA pode estar incorreto.">
            <a:extLst>
              <a:ext uri="{FF2B5EF4-FFF2-40B4-BE49-F238E27FC236}">
                <a16:creationId xmlns:a16="http://schemas.microsoft.com/office/drawing/2014/main" id="{26E20D3B-2143-9DF8-B3DC-B36F066620D7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76167" y="277459"/>
            <a:ext cx="2339162" cy="696413"/>
          </a:xfrm>
          <a:prstGeom prst="rect">
            <a:avLst/>
          </a:prstGeom>
        </p:spPr>
      </p:pic>
      <p:grpSp>
        <p:nvGrpSpPr>
          <p:cNvPr id="5" name="Agrupar 4">
            <a:extLst>
              <a:ext uri="{FF2B5EF4-FFF2-40B4-BE49-F238E27FC236}">
                <a16:creationId xmlns:a16="http://schemas.microsoft.com/office/drawing/2014/main" id="{34E6C1E5-FD4C-B406-0C34-C107FA16FE34}"/>
              </a:ext>
            </a:extLst>
          </p:cNvPr>
          <p:cNvGrpSpPr/>
          <p:nvPr/>
        </p:nvGrpSpPr>
        <p:grpSpPr>
          <a:xfrm>
            <a:off x="632127" y="1429919"/>
            <a:ext cx="3226695" cy="4916937"/>
            <a:chOff x="435181" y="1193798"/>
            <a:chExt cx="3226695" cy="4916937"/>
          </a:xfrm>
        </p:grpSpPr>
        <p:sp>
          <p:nvSpPr>
            <p:cNvPr id="6" name="圓角矩形 32">
              <a:extLst>
                <a:ext uri="{FF2B5EF4-FFF2-40B4-BE49-F238E27FC236}">
                  <a16:creationId xmlns:a16="http://schemas.microsoft.com/office/drawing/2014/main" id="{071626B0-E3F0-73C1-2A38-3725C563AF20}"/>
                </a:ext>
              </a:extLst>
            </p:cNvPr>
            <p:cNvSpPr/>
            <p:nvPr/>
          </p:nvSpPr>
          <p:spPr>
            <a:xfrm rot="5400000">
              <a:off x="-409940" y="2038919"/>
              <a:ext cx="4916937" cy="3226695"/>
            </a:xfrm>
            <a:prstGeom prst="roundRect">
              <a:avLst>
                <a:gd name="adj" fmla="val 4696"/>
              </a:avLst>
            </a:prstGeom>
            <a:gradFill flip="none" rotWithShape="1">
              <a:gsLst>
                <a:gs pos="57000">
                  <a:srgbClr val="15030E">
                    <a:alpha val="60000"/>
                  </a:srgbClr>
                </a:gs>
                <a:gs pos="100000">
                  <a:srgbClr val="2B0519">
                    <a:alpha val="2000"/>
                  </a:srgbClr>
                </a:gs>
              </a:gsLst>
              <a:lin ang="0" scaled="1"/>
              <a:tileRect/>
            </a:gra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2640" tIns="182640" rIns="182640" bIns="182640" rtlCol="0" anchor="t"/>
            <a:lstStyle/>
            <a:p>
              <a:pPr defTabSz="913030">
                <a:defRPr/>
              </a:pPr>
              <a:endParaRPr kumimoji="1" lang="zh-TW" altLang="en-US" sz="1600" err="1">
                <a:solidFill>
                  <a:prstClr val="white"/>
                </a:solidFill>
                <a:latin typeface="Candara" panose="020E0502030303020204" pitchFamily="34" charset="0"/>
                <a:ea typeface="新細明體" panose="02020500000000000000" pitchFamily="18" charset="-120"/>
              </a:endParaRPr>
            </a:p>
          </p:txBody>
        </p:sp>
        <p:sp>
          <p:nvSpPr>
            <p:cNvPr id="8" name="Rectangle: Rounded Corners 14">
              <a:extLst>
                <a:ext uri="{FF2B5EF4-FFF2-40B4-BE49-F238E27FC236}">
                  <a16:creationId xmlns:a16="http://schemas.microsoft.com/office/drawing/2014/main" id="{03E84D17-39BD-79B4-E477-D21A1F59BB07}"/>
                </a:ext>
                <a:ext uri="{C183D7F6-B498-43B3-948B-1728B52AA6E4}">
                  <adec:decorative xmlns:adec="http://schemas.microsoft.com/office/drawing/2017/decorative" val="0"/>
                </a:ext>
              </a:extLst>
            </p:cNvPr>
            <p:cNvSpPr/>
            <p:nvPr/>
          </p:nvSpPr>
          <p:spPr>
            <a:xfrm>
              <a:off x="569907" y="1863428"/>
              <a:ext cx="2957242" cy="588724"/>
            </a:xfrm>
            <a:prstGeom prst="roundRect">
              <a:avLst>
                <a:gd name="adj" fmla="val 30493"/>
              </a:avLst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2832" tIns="182832" rIns="182832" bIns="182832" rtlCol="0" anchor="ctr" anchorCtr="0"/>
            <a:lstStyle/>
            <a:p>
              <a:pPr algn="ctr" defTabSz="1218621">
                <a:defRPr/>
              </a:pPr>
              <a:r>
                <a:rPr lang="en-US" altLang="zh-CN" sz="2300" b="1" dirty="0">
                  <a:solidFill>
                    <a:schemeClr val="bg1"/>
                  </a:solidFill>
                  <a:latin typeface="Candara" panose="020E0502030303020204" pitchFamily="34" charset="0"/>
                  <a:ea typeface="黑体" panose="02010609060101010101" pitchFamily="49" charset="-122"/>
                  <a:cs typeface="Arial" pitchFamily="34" charset="0"/>
                </a:rPr>
                <a:t>PRODUTIVIDADE</a:t>
              </a:r>
              <a:endParaRPr lang="en-US" sz="2300" b="1" dirty="0">
                <a:solidFill>
                  <a:schemeClr val="bg1"/>
                </a:solidFill>
                <a:latin typeface="Candara" panose="020E0502030303020204" pitchFamily="34" charset="0"/>
                <a:cs typeface="Arial" pitchFamily="34" charset="0"/>
              </a:endParaRPr>
            </a:p>
          </p:txBody>
        </p:sp>
        <p:sp>
          <p:nvSpPr>
            <p:cNvPr id="9" name="CaixaDeTexto 8">
              <a:extLst>
                <a:ext uri="{FF2B5EF4-FFF2-40B4-BE49-F238E27FC236}">
                  <a16:creationId xmlns:a16="http://schemas.microsoft.com/office/drawing/2014/main" id="{0CFB5F9F-45CF-36DE-2519-4D610DC26B5C}"/>
                </a:ext>
              </a:extLst>
            </p:cNvPr>
            <p:cNvSpPr txBox="1"/>
            <p:nvPr/>
          </p:nvSpPr>
          <p:spPr>
            <a:xfrm>
              <a:off x="650911" y="2574217"/>
              <a:ext cx="2828381" cy="280076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1218987"/>
              <a:r>
                <a:rPr lang="pt-BR" sz="1600" dirty="0">
                  <a:solidFill>
                    <a:prstClr val="white"/>
                  </a:solidFill>
                  <a:latin typeface="Candara" panose="020E0502030303020204" pitchFamily="34" charset="0"/>
                  <a:cs typeface="Arial" pitchFamily="34" charset="0"/>
                </a:rPr>
                <a:t>"O Ideapad Slim 3i entrega alta performance com processadores Intel® de 13ª geração série H, garantindo fluidez e velocidade para o trabalho e estudos, além de possibilitar upgrades de memória e armazenamento de forma simples para acompanhar as demandas do dia a dia."</a:t>
              </a:r>
            </a:p>
          </p:txBody>
        </p:sp>
      </p:grpSp>
      <p:grpSp>
        <p:nvGrpSpPr>
          <p:cNvPr id="12" name="Agrupar 11">
            <a:extLst>
              <a:ext uri="{FF2B5EF4-FFF2-40B4-BE49-F238E27FC236}">
                <a16:creationId xmlns:a16="http://schemas.microsoft.com/office/drawing/2014/main" id="{40BC8785-E887-22EF-1D07-114244141964}"/>
              </a:ext>
            </a:extLst>
          </p:cNvPr>
          <p:cNvGrpSpPr/>
          <p:nvPr/>
        </p:nvGrpSpPr>
        <p:grpSpPr>
          <a:xfrm>
            <a:off x="4471060" y="1429919"/>
            <a:ext cx="3226696" cy="4916937"/>
            <a:chOff x="435180" y="1193798"/>
            <a:chExt cx="3226696" cy="4916937"/>
          </a:xfrm>
        </p:grpSpPr>
        <p:sp>
          <p:nvSpPr>
            <p:cNvPr id="13" name="圓角矩形 32">
              <a:extLst>
                <a:ext uri="{FF2B5EF4-FFF2-40B4-BE49-F238E27FC236}">
                  <a16:creationId xmlns:a16="http://schemas.microsoft.com/office/drawing/2014/main" id="{939694CA-0242-1BB5-0976-C192F3B52F96}"/>
                </a:ext>
              </a:extLst>
            </p:cNvPr>
            <p:cNvSpPr/>
            <p:nvPr/>
          </p:nvSpPr>
          <p:spPr>
            <a:xfrm rot="5400000">
              <a:off x="-409940" y="2038919"/>
              <a:ext cx="4916937" cy="3226695"/>
            </a:xfrm>
            <a:prstGeom prst="roundRect">
              <a:avLst>
                <a:gd name="adj" fmla="val 4696"/>
              </a:avLst>
            </a:prstGeom>
            <a:gradFill flip="none" rotWithShape="1">
              <a:gsLst>
                <a:gs pos="57000">
                  <a:srgbClr val="15030E">
                    <a:alpha val="60000"/>
                  </a:srgbClr>
                </a:gs>
                <a:gs pos="100000">
                  <a:srgbClr val="2B0519">
                    <a:alpha val="2000"/>
                  </a:srgbClr>
                </a:gs>
              </a:gsLst>
              <a:lin ang="0" scaled="1"/>
              <a:tileRect/>
            </a:gra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2640" tIns="182640" rIns="182640" bIns="182640" rtlCol="0" anchor="t"/>
            <a:lstStyle/>
            <a:p>
              <a:pPr defTabSz="913030">
                <a:defRPr/>
              </a:pPr>
              <a:endParaRPr kumimoji="1" lang="zh-TW" altLang="en-US" sz="1600" err="1">
                <a:solidFill>
                  <a:prstClr val="white"/>
                </a:solidFill>
                <a:latin typeface="Candara" panose="020E0502030303020204" pitchFamily="34" charset="0"/>
                <a:ea typeface="新細明體" panose="02020500000000000000" pitchFamily="18" charset="-120"/>
              </a:endParaRPr>
            </a:p>
          </p:txBody>
        </p:sp>
        <p:sp>
          <p:nvSpPr>
            <p:cNvPr id="14" name="Rectangle: Rounded Corners 14">
              <a:extLst>
                <a:ext uri="{FF2B5EF4-FFF2-40B4-BE49-F238E27FC236}">
                  <a16:creationId xmlns:a16="http://schemas.microsoft.com/office/drawing/2014/main" id="{9E38CE51-6E89-EE8E-FC39-F47F50D35EB1}"/>
                </a:ext>
                <a:ext uri="{C183D7F6-B498-43B3-948B-1728B52AA6E4}">
                  <adec:decorative xmlns:adec="http://schemas.microsoft.com/office/drawing/2017/decorative" val="0"/>
                </a:ext>
              </a:extLst>
            </p:cNvPr>
            <p:cNvSpPr/>
            <p:nvPr/>
          </p:nvSpPr>
          <p:spPr>
            <a:xfrm>
              <a:off x="435180" y="1863428"/>
              <a:ext cx="3226695" cy="588724"/>
            </a:xfrm>
            <a:prstGeom prst="roundRect">
              <a:avLst>
                <a:gd name="adj" fmla="val 30493"/>
              </a:avLst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2832" tIns="182832" rIns="182832" bIns="182832" rtlCol="0" anchor="ctr" anchorCtr="0"/>
            <a:lstStyle/>
            <a:p>
              <a:pPr algn="ctr" defTabSz="1218621">
                <a:defRPr/>
              </a:pPr>
              <a:r>
                <a:rPr lang="en-US" sz="2300" b="1" dirty="0">
                  <a:solidFill>
                    <a:schemeClr val="bg1"/>
                  </a:solidFill>
                  <a:latin typeface="Candara" panose="020E0502030303020204" pitchFamily="34" charset="0"/>
                  <a:ea typeface="黑体"/>
                  <a:cs typeface="Arial"/>
                </a:rPr>
                <a:t>ENTRETENIMENTO</a:t>
              </a:r>
              <a:endParaRPr lang="en-US" sz="2300" b="1" dirty="0">
                <a:solidFill>
                  <a:schemeClr val="bg1"/>
                </a:solidFill>
                <a:latin typeface="Candara" panose="020E0502030303020204" pitchFamily="34" charset="0"/>
                <a:cs typeface="Arial" pitchFamily="34" charset="0"/>
              </a:endParaRPr>
            </a:p>
          </p:txBody>
        </p:sp>
        <p:sp>
          <p:nvSpPr>
            <p:cNvPr id="15" name="CaixaDeTexto 14">
              <a:extLst>
                <a:ext uri="{FF2B5EF4-FFF2-40B4-BE49-F238E27FC236}">
                  <a16:creationId xmlns:a16="http://schemas.microsoft.com/office/drawing/2014/main" id="{FE9004C8-FBB3-6D74-C482-2C7FD5826741}"/>
                </a:ext>
              </a:extLst>
            </p:cNvPr>
            <p:cNvSpPr txBox="1"/>
            <p:nvPr/>
          </p:nvSpPr>
          <p:spPr>
            <a:xfrm>
              <a:off x="650911" y="2574217"/>
              <a:ext cx="2828381" cy="230832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1218987"/>
              <a:r>
                <a:rPr lang="pt-BR" sz="1600" dirty="0">
                  <a:solidFill>
                    <a:prstClr val="white"/>
                  </a:solidFill>
                  <a:latin typeface="Candara" panose="020E0502030303020204" pitchFamily="34" charset="0"/>
                  <a:cs typeface="Arial" pitchFamily="34" charset="0"/>
                </a:rPr>
                <a:t>"Com tela IPS Full HD+ de 15,3" e áudio Dolby, o notebook proporciona imagens vivas, amplo ângulo de visão e som imersivo, oferecendo uma experiência audiovisual de qualidade tanto para filmes quanto para séries e vídeos online."</a:t>
              </a:r>
            </a:p>
          </p:txBody>
        </p:sp>
      </p:grpSp>
      <p:grpSp>
        <p:nvGrpSpPr>
          <p:cNvPr id="16" name="Agrupar 15">
            <a:extLst>
              <a:ext uri="{FF2B5EF4-FFF2-40B4-BE49-F238E27FC236}">
                <a16:creationId xmlns:a16="http://schemas.microsoft.com/office/drawing/2014/main" id="{11C29109-5870-E8E7-7A4B-6237A7805FCF}"/>
              </a:ext>
            </a:extLst>
          </p:cNvPr>
          <p:cNvGrpSpPr/>
          <p:nvPr/>
        </p:nvGrpSpPr>
        <p:grpSpPr>
          <a:xfrm>
            <a:off x="8290849" y="1429919"/>
            <a:ext cx="3226695" cy="4916937"/>
            <a:chOff x="435181" y="1193798"/>
            <a:chExt cx="3226695" cy="4916937"/>
          </a:xfrm>
        </p:grpSpPr>
        <p:sp>
          <p:nvSpPr>
            <p:cNvPr id="17" name="圓角矩形 32">
              <a:extLst>
                <a:ext uri="{FF2B5EF4-FFF2-40B4-BE49-F238E27FC236}">
                  <a16:creationId xmlns:a16="http://schemas.microsoft.com/office/drawing/2014/main" id="{1335899E-F55B-F936-A031-36FF6C116D5A}"/>
                </a:ext>
              </a:extLst>
            </p:cNvPr>
            <p:cNvSpPr/>
            <p:nvPr/>
          </p:nvSpPr>
          <p:spPr>
            <a:xfrm rot="5400000">
              <a:off x="-409940" y="2038919"/>
              <a:ext cx="4916937" cy="3226695"/>
            </a:xfrm>
            <a:prstGeom prst="roundRect">
              <a:avLst>
                <a:gd name="adj" fmla="val 4696"/>
              </a:avLst>
            </a:prstGeom>
            <a:gradFill flip="none" rotWithShape="1">
              <a:gsLst>
                <a:gs pos="57000">
                  <a:srgbClr val="15030E">
                    <a:alpha val="60000"/>
                  </a:srgbClr>
                </a:gs>
                <a:gs pos="100000">
                  <a:srgbClr val="2B0519">
                    <a:alpha val="2000"/>
                  </a:srgbClr>
                </a:gs>
              </a:gsLst>
              <a:lin ang="0" scaled="1"/>
              <a:tileRect/>
            </a:gra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2640" tIns="182640" rIns="182640" bIns="182640" rtlCol="0" anchor="t"/>
            <a:lstStyle/>
            <a:p>
              <a:pPr defTabSz="913030">
                <a:defRPr/>
              </a:pPr>
              <a:endParaRPr kumimoji="1" lang="zh-TW" altLang="en-US" sz="1600" err="1">
                <a:solidFill>
                  <a:prstClr val="white"/>
                </a:solidFill>
                <a:latin typeface="Candara" panose="020E0502030303020204" pitchFamily="34" charset="0"/>
                <a:ea typeface="新細明體" panose="02020500000000000000" pitchFamily="18" charset="-120"/>
              </a:endParaRPr>
            </a:p>
          </p:txBody>
        </p:sp>
        <p:sp>
          <p:nvSpPr>
            <p:cNvPr id="18" name="Rectangle: Rounded Corners 14">
              <a:extLst>
                <a:ext uri="{FF2B5EF4-FFF2-40B4-BE49-F238E27FC236}">
                  <a16:creationId xmlns:a16="http://schemas.microsoft.com/office/drawing/2014/main" id="{0CA11338-73B9-C6E8-D2C3-FF9D0EE18E9E}"/>
                </a:ext>
                <a:ext uri="{C183D7F6-B498-43B3-948B-1728B52AA6E4}">
                  <adec:decorative xmlns:adec="http://schemas.microsoft.com/office/drawing/2017/decorative" val="0"/>
                </a:ext>
              </a:extLst>
            </p:cNvPr>
            <p:cNvSpPr/>
            <p:nvPr/>
          </p:nvSpPr>
          <p:spPr>
            <a:xfrm>
              <a:off x="569907" y="1863428"/>
              <a:ext cx="2957242" cy="588724"/>
            </a:xfrm>
            <a:prstGeom prst="roundRect">
              <a:avLst>
                <a:gd name="adj" fmla="val 30493"/>
              </a:avLst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2832" tIns="182832" rIns="182832" bIns="182832" rtlCol="0" anchor="ctr" anchorCtr="0"/>
            <a:lstStyle/>
            <a:p>
              <a:pPr algn="ctr" defTabSz="1218621">
                <a:defRPr/>
              </a:pPr>
              <a:r>
                <a:rPr lang="en-US" altLang="zh-CN" sz="2300" b="1" dirty="0">
                  <a:solidFill>
                    <a:schemeClr val="bg1"/>
                  </a:solidFill>
                  <a:latin typeface="Candara" panose="020E0502030303020204" pitchFamily="34" charset="0"/>
                  <a:ea typeface="黑体" panose="02010609060101010101" pitchFamily="49" charset="-122"/>
                  <a:cs typeface="Arial" pitchFamily="34" charset="0"/>
                </a:rPr>
                <a:t>MOBILIDADE</a:t>
              </a:r>
              <a:endParaRPr lang="en-US" sz="2300" b="1" dirty="0">
                <a:solidFill>
                  <a:schemeClr val="bg1"/>
                </a:solidFill>
                <a:latin typeface="Candara" panose="020E0502030303020204" pitchFamily="34" charset="0"/>
                <a:cs typeface="Arial" pitchFamily="34" charset="0"/>
              </a:endParaRPr>
            </a:p>
          </p:txBody>
        </p:sp>
        <p:sp>
          <p:nvSpPr>
            <p:cNvPr id="19" name="CaixaDeTexto 18">
              <a:extLst>
                <a:ext uri="{FF2B5EF4-FFF2-40B4-BE49-F238E27FC236}">
                  <a16:creationId xmlns:a16="http://schemas.microsoft.com/office/drawing/2014/main" id="{05ECD7D1-8F4C-EE57-B8EC-17214819A266}"/>
                </a:ext>
              </a:extLst>
            </p:cNvPr>
            <p:cNvSpPr txBox="1"/>
            <p:nvPr/>
          </p:nvSpPr>
          <p:spPr>
            <a:xfrm>
              <a:off x="650911" y="2574217"/>
              <a:ext cx="2828381" cy="255454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1218987"/>
              <a:r>
                <a:rPr lang="pt-BR" sz="1600" dirty="0">
                  <a:solidFill>
                    <a:prstClr val="white"/>
                  </a:solidFill>
                  <a:latin typeface="Candara" panose="020E0502030303020204" pitchFamily="34" charset="0"/>
                  <a:cs typeface="Arial" pitchFamily="34" charset="0"/>
                </a:rPr>
                <a:t>"Pesando apenas 1,59 kg e com design fino, o Ideapad Slim 3i alia portabilidade a recursos como bateria com carregamento rápido, Wi-Fi 6 para conexões ágeis e webcam com proteção de privacidade, permitindo trabalhar ou se divertir em qualquer lugar."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310726991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EF348104-8DCC-7A3C-127B-5CAAEFF749F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m 2" descr="Interface gráfica do usuário&#10;&#10;O conteúdo gerado por IA pode estar incorreto.">
            <a:extLst>
              <a:ext uri="{FF2B5EF4-FFF2-40B4-BE49-F238E27FC236}">
                <a16:creationId xmlns:a16="http://schemas.microsoft.com/office/drawing/2014/main" id="{1F27DC4E-A553-CDDF-5A52-5398BD6F0E6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6447" y="248306"/>
            <a:ext cx="1371600" cy="561358"/>
          </a:xfrm>
          <a:prstGeom prst="rect">
            <a:avLst/>
          </a:prstGeom>
        </p:spPr>
      </p:pic>
      <p:pic>
        <p:nvPicPr>
          <p:cNvPr id="1026" name="Picture 2" descr="logo claro PNG &amp; clipart images | Citypng">
            <a:extLst>
              <a:ext uri="{FF2B5EF4-FFF2-40B4-BE49-F238E27FC236}">
                <a16:creationId xmlns:a16="http://schemas.microsoft.com/office/drawing/2014/main" id="{F4B64DA3-FF24-E708-A61C-F16F7A786854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ackgroundRemoval t="8875" b="90500" l="9625" r="90375">
                        <a14:foregroundMark x1="35125" y1="42750" x2="35125" y2="42750"/>
                        <a14:foregroundMark x1="35250" y1="45125" x2="33750" y2="54125"/>
                        <a14:foregroundMark x1="33750" y1="54125" x2="41375" y2="48750"/>
                        <a14:foregroundMark x1="41375" y1="48750" x2="36875" y2="40375"/>
                        <a14:foregroundMark x1="36875" y1="40375" x2="31375" y2="43625"/>
                        <a14:foregroundMark x1="22000" y1="41875" x2="12375" y2="50500"/>
                        <a14:foregroundMark x1="12375" y1="50500" x2="25625" y2="62375"/>
                        <a14:foregroundMark x1="25625" y1="62375" x2="52750" y2="64125"/>
                        <a14:foregroundMark x1="52750" y1="64125" x2="73500" y2="62500"/>
                        <a14:foregroundMark x1="73500" y1="62500" x2="87375" y2="56375"/>
                        <a14:foregroundMark x1="87375" y1="56375" x2="87125" y2="45625"/>
                        <a14:foregroundMark x1="87125" y1="45625" x2="84625" y2="37625"/>
                        <a14:foregroundMark x1="84625" y1="37625" x2="76500" y2="32125"/>
                        <a14:foregroundMark x1="76500" y1="32125" x2="57500" y2="27250"/>
                        <a14:foregroundMark x1="57500" y1="27250" x2="20250" y2="28750"/>
                        <a14:foregroundMark x1="20250" y1="28750" x2="15750" y2="38375"/>
                        <a14:foregroundMark x1="15750" y1="38375" x2="12250" y2="41125"/>
                        <a14:foregroundMark x1="28375" y1="36125" x2="17625" y2="48125"/>
                        <a14:foregroundMark x1="17625" y1="48125" x2="23875" y2="57625"/>
                        <a14:foregroundMark x1="23875" y1="57625" x2="34500" y2="44000"/>
                        <a14:foregroundMark x1="34500" y1="44000" x2="21250" y2="39375"/>
                        <a14:foregroundMark x1="21250" y1="39375" x2="19250" y2="41250"/>
                        <a14:foregroundMark x1="26250" y1="40250" x2="27375" y2="52750"/>
                        <a14:foregroundMark x1="27375" y1="52750" x2="28875" y2="40125"/>
                        <a14:foregroundMark x1="28875" y1="40125" x2="18750" y2="45500"/>
                        <a14:foregroundMark x1="18750" y1="45500" x2="20750" y2="48625"/>
                        <a14:foregroundMark x1="26875" y1="40625" x2="27375" y2="58250"/>
                        <a14:foregroundMark x1="27375" y1="58250" x2="30625" y2="48375"/>
                        <a14:foregroundMark x1="30625" y1="48375" x2="20375" y2="51125"/>
                        <a14:foregroundMark x1="20375" y1="51125" x2="20375" y2="52375"/>
                        <a14:foregroundMark x1="19125" y1="42500" x2="25500" y2="55125"/>
                        <a14:foregroundMark x1="25500" y1="55125" x2="25125" y2="59500"/>
                        <a14:foregroundMark x1="22250" y1="56750" x2="21750" y2="58125"/>
                        <a14:foregroundMark x1="38500" y1="39875" x2="29750" y2="53250"/>
                        <a14:foregroundMark x1="29750" y1="53250" x2="34875" y2="62125"/>
                        <a14:foregroundMark x1="34875" y1="62125" x2="39750" y2="49375"/>
                        <a14:foregroundMark x1="39750" y1="49375" x2="36125" y2="43000"/>
                        <a14:foregroundMark x1="43375" y1="42375" x2="41000" y2="60750"/>
                        <a14:foregroundMark x1="41000" y1="60750" x2="51625" y2="47750"/>
                        <a14:foregroundMark x1="51625" y1="47750" x2="43375" y2="46875"/>
                        <a14:foregroundMark x1="43375" y1="46875" x2="41375" y2="48000"/>
                        <a14:foregroundMark x1="47125" y1="50750" x2="48375" y2="59000"/>
                        <a14:foregroundMark x1="48375" y1="59000" x2="45125" y2="53500"/>
                        <a14:foregroundMark x1="53625" y1="43250" x2="52125" y2="50125"/>
                        <a14:foregroundMark x1="52125" y1="50125" x2="54125" y2="58375"/>
                        <a14:foregroundMark x1="54125" y1="58375" x2="58125" y2="50500"/>
                        <a14:foregroundMark x1="58125" y1="50500" x2="53250" y2="45125"/>
                        <a14:foregroundMark x1="53250" y1="45125" x2="51500" y2="45375"/>
                        <a14:foregroundMark x1="58625" y1="42000" x2="59750" y2="52125"/>
                        <a14:foregroundMark x1="59750" y1="52125" x2="57750" y2="45000"/>
                        <a14:foregroundMark x1="63000" y1="45375" x2="61000" y2="62375"/>
                        <a14:foregroundMark x1="61000" y1="62375" x2="73375" y2="56375"/>
                        <a14:foregroundMark x1="73375" y1="56375" x2="72000" y2="45625"/>
                        <a14:foregroundMark x1="72000" y1="45625" x2="64375" y2="43500"/>
                        <a14:foregroundMark x1="64375" y1="43500" x2="61750" y2="33375"/>
                        <a14:foregroundMark x1="61750" y1="33375" x2="72625" y2="31250"/>
                        <a14:foregroundMark x1="72625" y1="31250" x2="67750" y2="44000"/>
                        <a14:foregroundMark x1="67750" y1="44000" x2="73125" y2="38125"/>
                        <a14:foregroundMark x1="73125" y1="38125" x2="81750" y2="37125"/>
                        <a14:foregroundMark x1="81750" y1="37125" x2="77625" y2="50250"/>
                        <a14:foregroundMark x1="77625" y1="50250" x2="81750" y2="52375"/>
                        <a14:foregroundMark x1="68875" y1="31750" x2="67125" y2="43250"/>
                        <a14:foregroundMark x1="67125" y1="43250" x2="69125" y2="34625"/>
                        <a14:foregroundMark x1="78750" y1="32500" x2="75250" y2="44500"/>
                        <a14:foregroundMark x1="75250" y1="44500" x2="79875" y2="36750"/>
                        <a14:foregroundMark x1="79875" y1="36750" x2="76875" y2="36375"/>
                        <a14:foregroundMark x1="78750" y1="46625" x2="80125" y2="55500"/>
                        <a14:foregroundMark x1="80125" y1="55500" x2="80750" y2="46125"/>
                        <a14:foregroundMark x1="80750" y1="46125" x2="77750" y2="45875"/>
                        <a14:foregroundMark x1="90375" y1="44000" x2="88750" y2="56375"/>
                        <a14:foregroundMark x1="45750" y1="10250" x2="57875" y2="11500"/>
                        <a14:foregroundMark x1="54125" y1="8875" x2="53500" y2="9125"/>
                        <a14:foregroundMark x1="49500" y1="90500" x2="54125" y2="89500"/>
                        <a14:foregroundMark x1="9625" y1="49625" x2="11000" y2="47125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3256" t="7288" r="7881" b="3666"/>
          <a:stretch>
            <a:fillRect/>
          </a:stretch>
        </p:blipFill>
        <p:spPr bwMode="auto">
          <a:xfrm>
            <a:off x="11238614" y="5890437"/>
            <a:ext cx="733648" cy="7351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CaixaDeTexto 5">
            <a:extLst>
              <a:ext uri="{FF2B5EF4-FFF2-40B4-BE49-F238E27FC236}">
                <a16:creationId xmlns:a16="http://schemas.microsoft.com/office/drawing/2014/main" id="{B8B8B90C-D7B9-A2AD-C9D2-9E5F9DB40954}"/>
              </a:ext>
            </a:extLst>
          </p:cNvPr>
          <p:cNvSpPr txBox="1"/>
          <p:nvPr/>
        </p:nvSpPr>
        <p:spPr>
          <a:xfrm>
            <a:off x="88900" y="2774434"/>
            <a:ext cx="6096000" cy="76944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sz="4400" b="0" i="0" u="none" strike="noStrike" baseline="0" dirty="0">
                <a:solidFill>
                  <a:schemeClr val="bg2"/>
                </a:solidFill>
                <a:latin typeface="Candara" panose="020E0502030303020204" pitchFamily="34" charset="0"/>
              </a:rPr>
              <a:t>Projetor Epson EF-21</a:t>
            </a:r>
            <a:endParaRPr lang="pt-BR" sz="4400" dirty="0">
              <a:solidFill>
                <a:schemeClr val="bg2"/>
              </a:solidFill>
              <a:latin typeface="Candara" panose="020E0502030303020204" pitchFamily="34" charset="0"/>
            </a:endParaRPr>
          </a:p>
        </p:txBody>
      </p:sp>
      <p:pic>
        <p:nvPicPr>
          <p:cNvPr id="2054" name="Picture 6" descr="Projetor Epson EpiqVision® Laser Smart EF21 com Conexão USB e HDMI Branco  Diamante - V11HB35020 | Fastshop">
            <a:extLst>
              <a:ext uri="{FF2B5EF4-FFF2-40B4-BE49-F238E27FC236}">
                <a16:creationId xmlns:a16="http://schemas.microsoft.com/office/drawing/2014/main" id="{8BFACB03-1DEC-D787-796F-7C42C853D15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828" t="15363" r="6283" b="17787"/>
          <a:stretch>
            <a:fillRect/>
          </a:stretch>
        </p:blipFill>
        <p:spPr bwMode="auto">
          <a:xfrm>
            <a:off x="5651500" y="1136650"/>
            <a:ext cx="6096000" cy="4584700"/>
          </a:xfrm>
          <a:prstGeom prst="round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358947910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95F96A1C-E9CF-0134-3D65-97C6F36FD4B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m 2" descr="Interface gráfica do usuário&#10;&#10;O conteúdo gerado por IA pode estar incorreto.">
            <a:extLst>
              <a:ext uri="{FF2B5EF4-FFF2-40B4-BE49-F238E27FC236}">
                <a16:creationId xmlns:a16="http://schemas.microsoft.com/office/drawing/2014/main" id="{9E433C22-3A76-0299-A119-E02D049AF59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6447" y="248306"/>
            <a:ext cx="1371600" cy="561358"/>
          </a:xfrm>
          <a:prstGeom prst="rect">
            <a:avLst/>
          </a:prstGeom>
        </p:spPr>
      </p:pic>
      <p:pic>
        <p:nvPicPr>
          <p:cNvPr id="1026" name="Picture 2" descr="logo claro PNG &amp; clipart images | Citypng">
            <a:extLst>
              <a:ext uri="{FF2B5EF4-FFF2-40B4-BE49-F238E27FC236}">
                <a16:creationId xmlns:a16="http://schemas.microsoft.com/office/drawing/2014/main" id="{392F7DC1-6F1C-624B-34F8-055E39E671F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ackgroundRemoval t="8875" b="90500" l="9625" r="90375">
                        <a14:foregroundMark x1="35125" y1="42750" x2="35125" y2="42750"/>
                        <a14:foregroundMark x1="35250" y1="45125" x2="33750" y2="54125"/>
                        <a14:foregroundMark x1="33750" y1="54125" x2="41375" y2="48750"/>
                        <a14:foregroundMark x1="41375" y1="48750" x2="36875" y2="40375"/>
                        <a14:foregroundMark x1="36875" y1="40375" x2="31375" y2="43625"/>
                        <a14:foregroundMark x1="22000" y1="41875" x2="12375" y2="50500"/>
                        <a14:foregroundMark x1="12375" y1="50500" x2="25625" y2="62375"/>
                        <a14:foregroundMark x1="25625" y1="62375" x2="52750" y2="64125"/>
                        <a14:foregroundMark x1="52750" y1="64125" x2="73500" y2="62500"/>
                        <a14:foregroundMark x1="73500" y1="62500" x2="87375" y2="56375"/>
                        <a14:foregroundMark x1="87375" y1="56375" x2="87125" y2="45625"/>
                        <a14:foregroundMark x1="87125" y1="45625" x2="84625" y2="37625"/>
                        <a14:foregroundMark x1="84625" y1="37625" x2="76500" y2="32125"/>
                        <a14:foregroundMark x1="76500" y1="32125" x2="57500" y2="27250"/>
                        <a14:foregroundMark x1="57500" y1="27250" x2="20250" y2="28750"/>
                        <a14:foregroundMark x1="20250" y1="28750" x2="15750" y2="38375"/>
                        <a14:foregroundMark x1="15750" y1="38375" x2="12250" y2="41125"/>
                        <a14:foregroundMark x1="28375" y1="36125" x2="17625" y2="48125"/>
                        <a14:foregroundMark x1="17625" y1="48125" x2="23875" y2="57625"/>
                        <a14:foregroundMark x1="23875" y1="57625" x2="34500" y2="44000"/>
                        <a14:foregroundMark x1="34500" y1="44000" x2="21250" y2="39375"/>
                        <a14:foregroundMark x1="21250" y1="39375" x2="19250" y2="41250"/>
                        <a14:foregroundMark x1="26250" y1="40250" x2="27375" y2="52750"/>
                        <a14:foregroundMark x1="27375" y1="52750" x2="28875" y2="40125"/>
                        <a14:foregroundMark x1="28875" y1="40125" x2="18750" y2="45500"/>
                        <a14:foregroundMark x1="18750" y1="45500" x2="20750" y2="48625"/>
                        <a14:foregroundMark x1="26875" y1="40625" x2="27375" y2="58250"/>
                        <a14:foregroundMark x1="27375" y1="58250" x2="30625" y2="48375"/>
                        <a14:foregroundMark x1="30625" y1="48375" x2="20375" y2="51125"/>
                        <a14:foregroundMark x1="20375" y1="51125" x2="20375" y2="52375"/>
                        <a14:foregroundMark x1="19125" y1="42500" x2="25500" y2="55125"/>
                        <a14:foregroundMark x1="25500" y1="55125" x2="25125" y2="59500"/>
                        <a14:foregroundMark x1="22250" y1="56750" x2="21750" y2="58125"/>
                        <a14:foregroundMark x1="38500" y1="39875" x2="29750" y2="53250"/>
                        <a14:foregroundMark x1="29750" y1="53250" x2="34875" y2="62125"/>
                        <a14:foregroundMark x1="34875" y1="62125" x2="39750" y2="49375"/>
                        <a14:foregroundMark x1="39750" y1="49375" x2="36125" y2="43000"/>
                        <a14:foregroundMark x1="43375" y1="42375" x2="41000" y2="60750"/>
                        <a14:foregroundMark x1="41000" y1="60750" x2="51625" y2="47750"/>
                        <a14:foregroundMark x1="51625" y1="47750" x2="43375" y2="46875"/>
                        <a14:foregroundMark x1="43375" y1="46875" x2="41375" y2="48000"/>
                        <a14:foregroundMark x1="47125" y1="50750" x2="48375" y2="59000"/>
                        <a14:foregroundMark x1="48375" y1="59000" x2="45125" y2="53500"/>
                        <a14:foregroundMark x1="53625" y1="43250" x2="52125" y2="50125"/>
                        <a14:foregroundMark x1="52125" y1="50125" x2="54125" y2="58375"/>
                        <a14:foregroundMark x1="54125" y1="58375" x2="58125" y2="50500"/>
                        <a14:foregroundMark x1="58125" y1="50500" x2="53250" y2="45125"/>
                        <a14:foregroundMark x1="53250" y1="45125" x2="51500" y2="45375"/>
                        <a14:foregroundMark x1="58625" y1="42000" x2="59750" y2="52125"/>
                        <a14:foregroundMark x1="59750" y1="52125" x2="57750" y2="45000"/>
                        <a14:foregroundMark x1="63000" y1="45375" x2="61000" y2="62375"/>
                        <a14:foregroundMark x1="61000" y1="62375" x2="73375" y2="56375"/>
                        <a14:foregroundMark x1="73375" y1="56375" x2="72000" y2="45625"/>
                        <a14:foregroundMark x1="72000" y1="45625" x2="64375" y2="43500"/>
                        <a14:foregroundMark x1="64375" y1="43500" x2="61750" y2="33375"/>
                        <a14:foregroundMark x1="61750" y1="33375" x2="72625" y2="31250"/>
                        <a14:foregroundMark x1="72625" y1="31250" x2="67750" y2="44000"/>
                        <a14:foregroundMark x1="67750" y1="44000" x2="73125" y2="38125"/>
                        <a14:foregroundMark x1="73125" y1="38125" x2="81750" y2="37125"/>
                        <a14:foregroundMark x1="81750" y1="37125" x2="77625" y2="50250"/>
                        <a14:foregroundMark x1="77625" y1="50250" x2="81750" y2="52375"/>
                        <a14:foregroundMark x1="68875" y1="31750" x2="67125" y2="43250"/>
                        <a14:foregroundMark x1="67125" y1="43250" x2="69125" y2="34625"/>
                        <a14:foregroundMark x1="78750" y1="32500" x2="75250" y2="44500"/>
                        <a14:foregroundMark x1="75250" y1="44500" x2="79875" y2="36750"/>
                        <a14:foregroundMark x1="79875" y1="36750" x2="76875" y2="36375"/>
                        <a14:foregroundMark x1="78750" y1="46625" x2="80125" y2="55500"/>
                        <a14:foregroundMark x1="80125" y1="55500" x2="80750" y2="46125"/>
                        <a14:foregroundMark x1="80750" y1="46125" x2="77750" y2="45875"/>
                        <a14:foregroundMark x1="90375" y1="44000" x2="88750" y2="56375"/>
                        <a14:foregroundMark x1="45750" y1="10250" x2="57875" y2="11500"/>
                        <a14:foregroundMark x1="54125" y1="8875" x2="53500" y2="9125"/>
                        <a14:foregroundMark x1="49500" y1="90500" x2="54125" y2="89500"/>
                        <a14:foregroundMark x1="9625" y1="49625" x2="11000" y2="47125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3256" t="7288" r="7881" b="3666"/>
          <a:stretch>
            <a:fillRect/>
          </a:stretch>
        </p:blipFill>
        <p:spPr bwMode="auto">
          <a:xfrm>
            <a:off x="11238614" y="5890437"/>
            <a:ext cx="733648" cy="7351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2" name="Agrupar 1">
            <a:extLst>
              <a:ext uri="{FF2B5EF4-FFF2-40B4-BE49-F238E27FC236}">
                <a16:creationId xmlns:a16="http://schemas.microsoft.com/office/drawing/2014/main" id="{DB3BB802-D396-92A3-A1FB-D2333C1C9E76}"/>
              </a:ext>
            </a:extLst>
          </p:cNvPr>
          <p:cNvGrpSpPr/>
          <p:nvPr/>
        </p:nvGrpSpPr>
        <p:grpSpPr>
          <a:xfrm>
            <a:off x="8280400" y="442080"/>
            <a:ext cx="3467100" cy="735167"/>
            <a:chOff x="-10954339" y="1136650"/>
            <a:chExt cx="22701839" cy="4584700"/>
          </a:xfrm>
        </p:grpSpPr>
        <p:sp>
          <p:nvSpPr>
            <p:cNvPr id="6" name="CaixaDeTexto 5">
              <a:extLst>
                <a:ext uri="{FF2B5EF4-FFF2-40B4-BE49-F238E27FC236}">
                  <a16:creationId xmlns:a16="http://schemas.microsoft.com/office/drawing/2014/main" id="{B28E2CE8-A446-D992-1AF0-9EA687D0D3D6}"/>
                </a:ext>
              </a:extLst>
            </p:cNvPr>
            <p:cNvSpPr txBox="1"/>
            <p:nvPr/>
          </p:nvSpPr>
          <p:spPr>
            <a:xfrm>
              <a:off x="-10954339" y="2277376"/>
              <a:ext cx="16605841" cy="249519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pt-BR" sz="2000" b="1" i="0" u="none" strike="noStrike" baseline="0" dirty="0">
                  <a:solidFill>
                    <a:schemeClr val="bg2"/>
                  </a:solidFill>
                  <a:latin typeface="Candara" panose="020E0502030303020204" pitchFamily="34" charset="0"/>
                </a:rPr>
                <a:t>Projetor Epson EF-21</a:t>
              </a:r>
              <a:endParaRPr lang="pt-BR" sz="2000" b="1" dirty="0">
                <a:solidFill>
                  <a:schemeClr val="bg2"/>
                </a:solidFill>
                <a:latin typeface="Candara" panose="020E0502030303020204" pitchFamily="34" charset="0"/>
              </a:endParaRPr>
            </a:p>
          </p:txBody>
        </p:sp>
        <p:pic>
          <p:nvPicPr>
            <p:cNvPr id="2054" name="Picture 6" descr="Projetor Epson EpiqVision® Laser Smart EF21 com Conexão USB e HDMI Branco  Diamante - V11HB35020 | Fastshop">
              <a:extLst>
                <a:ext uri="{FF2B5EF4-FFF2-40B4-BE49-F238E27FC236}">
                  <a16:creationId xmlns:a16="http://schemas.microsoft.com/office/drawing/2014/main" id="{87C72DB5-E5B7-C1A7-CB9E-24784CA107BC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828" t="15363" r="6283" b="17787"/>
            <a:stretch>
              <a:fillRect/>
            </a:stretch>
          </p:blipFill>
          <p:spPr bwMode="auto">
            <a:xfrm>
              <a:off x="5651500" y="1136650"/>
              <a:ext cx="6096000" cy="4584700"/>
            </a:xfrm>
            <a:prstGeom prst="round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4" name="Picture 2" descr="Epson EF-21W, Mini Projetor Laser, 1.000 Lúmenes, Ecrã até 150 Polegadas,  Google TV™ e Altifalante Bluetooth, Portátil | Home Cinema |  Videoprojetores | Produtos | Epson Portugal">
            <a:extLst>
              <a:ext uri="{FF2B5EF4-FFF2-40B4-BE49-F238E27FC236}">
                <a16:creationId xmlns:a16="http://schemas.microsoft.com/office/drawing/2014/main" id="{50566CF6-EA3D-6BC9-399E-2B0151CB95EF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919" b="3288"/>
          <a:stretch>
            <a:fillRect/>
          </a:stretch>
        </p:blipFill>
        <p:spPr bwMode="auto">
          <a:xfrm>
            <a:off x="1270588" y="1053869"/>
            <a:ext cx="5739812" cy="5326197"/>
          </a:xfrm>
          <a:prstGeom prst="roundRect">
            <a:avLst>
              <a:gd name="adj" fmla="val 9082"/>
            </a:avLst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97042308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96D4468B-D123-26DA-A770-C9580B645D8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m 2" descr="Interface gráfica do usuário&#10;&#10;O conteúdo gerado por IA pode estar incorreto.">
            <a:extLst>
              <a:ext uri="{FF2B5EF4-FFF2-40B4-BE49-F238E27FC236}">
                <a16:creationId xmlns:a16="http://schemas.microsoft.com/office/drawing/2014/main" id="{ADD46500-8549-6B81-46AC-05416EE7573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6447" y="248306"/>
            <a:ext cx="1371600" cy="561358"/>
          </a:xfrm>
          <a:prstGeom prst="rect">
            <a:avLst/>
          </a:prstGeom>
        </p:spPr>
      </p:pic>
      <p:pic>
        <p:nvPicPr>
          <p:cNvPr id="1026" name="Picture 2" descr="logo claro PNG &amp; clipart images | Citypng">
            <a:extLst>
              <a:ext uri="{FF2B5EF4-FFF2-40B4-BE49-F238E27FC236}">
                <a16:creationId xmlns:a16="http://schemas.microsoft.com/office/drawing/2014/main" id="{D9C321D9-8F64-C5B3-9B50-F111525D49AA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ackgroundRemoval t="8875" b="90500" l="9625" r="90375">
                        <a14:foregroundMark x1="35125" y1="42750" x2="35125" y2="42750"/>
                        <a14:foregroundMark x1="35250" y1="45125" x2="33750" y2="54125"/>
                        <a14:foregroundMark x1="33750" y1="54125" x2="41375" y2="48750"/>
                        <a14:foregroundMark x1="41375" y1="48750" x2="36875" y2="40375"/>
                        <a14:foregroundMark x1="36875" y1="40375" x2="31375" y2="43625"/>
                        <a14:foregroundMark x1="22000" y1="41875" x2="12375" y2="50500"/>
                        <a14:foregroundMark x1="12375" y1="50500" x2="25625" y2="62375"/>
                        <a14:foregroundMark x1="25625" y1="62375" x2="52750" y2="64125"/>
                        <a14:foregroundMark x1="52750" y1="64125" x2="73500" y2="62500"/>
                        <a14:foregroundMark x1="73500" y1="62500" x2="87375" y2="56375"/>
                        <a14:foregroundMark x1="87375" y1="56375" x2="87125" y2="45625"/>
                        <a14:foregroundMark x1="87125" y1="45625" x2="84625" y2="37625"/>
                        <a14:foregroundMark x1="84625" y1="37625" x2="76500" y2="32125"/>
                        <a14:foregroundMark x1="76500" y1="32125" x2="57500" y2="27250"/>
                        <a14:foregroundMark x1="57500" y1="27250" x2="20250" y2="28750"/>
                        <a14:foregroundMark x1="20250" y1="28750" x2="15750" y2="38375"/>
                        <a14:foregroundMark x1="15750" y1="38375" x2="12250" y2="41125"/>
                        <a14:foregroundMark x1="28375" y1="36125" x2="17625" y2="48125"/>
                        <a14:foregroundMark x1="17625" y1="48125" x2="23875" y2="57625"/>
                        <a14:foregroundMark x1="23875" y1="57625" x2="34500" y2="44000"/>
                        <a14:foregroundMark x1="34500" y1="44000" x2="21250" y2="39375"/>
                        <a14:foregroundMark x1="21250" y1="39375" x2="19250" y2="41250"/>
                        <a14:foregroundMark x1="26250" y1="40250" x2="27375" y2="52750"/>
                        <a14:foregroundMark x1="27375" y1="52750" x2="28875" y2="40125"/>
                        <a14:foregroundMark x1="28875" y1="40125" x2="18750" y2="45500"/>
                        <a14:foregroundMark x1="18750" y1="45500" x2="20750" y2="48625"/>
                        <a14:foregroundMark x1="26875" y1="40625" x2="27375" y2="58250"/>
                        <a14:foregroundMark x1="27375" y1="58250" x2="30625" y2="48375"/>
                        <a14:foregroundMark x1="30625" y1="48375" x2="20375" y2="51125"/>
                        <a14:foregroundMark x1="20375" y1="51125" x2="20375" y2="52375"/>
                        <a14:foregroundMark x1="19125" y1="42500" x2="25500" y2="55125"/>
                        <a14:foregroundMark x1="25500" y1="55125" x2="25125" y2="59500"/>
                        <a14:foregroundMark x1="22250" y1="56750" x2="21750" y2="58125"/>
                        <a14:foregroundMark x1="38500" y1="39875" x2="29750" y2="53250"/>
                        <a14:foregroundMark x1="29750" y1="53250" x2="34875" y2="62125"/>
                        <a14:foregroundMark x1="34875" y1="62125" x2="39750" y2="49375"/>
                        <a14:foregroundMark x1="39750" y1="49375" x2="36125" y2="43000"/>
                        <a14:foregroundMark x1="43375" y1="42375" x2="41000" y2="60750"/>
                        <a14:foregroundMark x1="41000" y1="60750" x2="51625" y2="47750"/>
                        <a14:foregroundMark x1="51625" y1="47750" x2="43375" y2="46875"/>
                        <a14:foregroundMark x1="43375" y1="46875" x2="41375" y2="48000"/>
                        <a14:foregroundMark x1="47125" y1="50750" x2="48375" y2="59000"/>
                        <a14:foregroundMark x1="48375" y1="59000" x2="45125" y2="53500"/>
                        <a14:foregroundMark x1="53625" y1="43250" x2="52125" y2="50125"/>
                        <a14:foregroundMark x1="52125" y1="50125" x2="54125" y2="58375"/>
                        <a14:foregroundMark x1="54125" y1="58375" x2="58125" y2="50500"/>
                        <a14:foregroundMark x1="58125" y1="50500" x2="53250" y2="45125"/>
                        <a14:foregroundMark x1="53250" y1="45125" x2="51500" y2="45375"/>
                        <a14:foregroundMark x1="58625" y1="42000" x2="59750" y2="52125"/>
                        <a14:foregroundMark x1="59750" y1="52125" x2="57750" y2="45000"/>
                        <a14:foregroundMark x1="63000" y1="45375" x2="61000" y2="62375"/>
                        <a14:foregroundMark x1="61000" y1="62375" x2="73375" y2="56375"/>
                        <a14:foregroundMark x1="73375" y1="56375" x2="72000" y2="45625"/>
                        <a14:foregroundMark x1="72000" y1="45625" x2="64375" y2="43500"/>
                        <a14:foregroundMark x1="64375" y1="43500" x2="61750" y2="33375"/>
                        <a14:foregroundMark x1="61750" y1="33375" x2="72625" y2="31250"/>
                        <a14:foregroundMark x1="72625" y1="31250" x2="67750" y2="44000"/>
                        <a14:foregroundMark x1="67750" y1="44000" x2="73125" y2="38125"/>
                        <a14:foregroundMark x1="73125" y1="38125" x2="81750" y2="37125"/>
                        <a14:foregroundMark x1="81750" y1="37125" x2="77625" y2="50250"/>
                        <a14:foregroundMark x1="77625" y1="50250" x2="81750" y2="52375"/>
                        <a14:foregroundMark x1="68875" y1="31750" x2="67125" y2="43250"/>
                        <a14:foregroundMark x1="67125" y1="43250" x2="69125" y2="34625"/>
                        <a14:foregroundMark x1="78750" y1="32500" x2="75250" y2="44500"/>
                        <a14:foregroundMark x1="75250" y1="44500" x2="79875" y2="36750"/>
                        <a14:foregroundMark x1="79875" y1="36750" x2="76875" y2="36375"/>
                        <a14:foregroundMark x1="78750" y1="46625" x2="80125" y2="55500"/>
                        <a14:foregroundMark x1="80125" y1="55500" x2="80750" y2="46125"/>
                        <a14:foregroundMark x1="80750" y1="46125" x2="77750" y2="45875"/>
                        <a14:foregroundMark x1="90375" y1="44000" x2="88750" y2="56375"/>
                        <a14:foregroundMark x1="45750" y1="10250" x2="57875" y2="11500"/>
                        <a14:foregroundMark x1="54125" y1="8875" x2="53500" y2="9125"/>
                        <a14:foregroundMark x1="49500" y1="90500" x2="54125" y2="89500"/>
                        <a14:foregroundMark x1="9625" y1="49625" x2="11000" y2="47125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3256" t="7288" r="7881" b="3666"/>
          <a:stretch>
            <a:fillRect/>
          </a:stretch>
        </p:blipFill>
        <p:spPr bwMode="auto">
          <a:xfrm>
            <a:off x="11238614" y="5890437"/>
            <a:ext cx="733648" cy="7351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2" name="Agrupar 1">
            <a:extLst>
              <a:ext uri="{FF2B5EF4-FFF2-40B4-BE49-F238E27FC236}">
                <a16:creationId xmlns:a16="http://schemas.microsoft.com/office/drawing/2014/main" id="{1915A6BA-DAE9-0F1A-DE6A-C99578237F46}"/>
              </a:ext>
            </a:extLst>
          </p:cNvPr>
          <p:cNvGrpSpPr/>
          <p:nvPr/>
        </p:nvGrpSpPr>
        <p:grpSpPr>
          <a:xfrm>
            <a:off x="8280400" y="442080"/>
            <a:ext cx="3467100" cy="735167"/>
            <a:chOff x="-10954339" y="1136650"/>
            <a:chExt cx="22701839" cy="4584700"/>
          </a:xfrm>
        </p:grpSpPr>
        <p:sp>
          <p:nvSpPr>
            <p:cNvPr id="6" name="CaixaDeTexto 5">
              <a:extLst>
                <a:ext uri="{FF2B5EF4-FFF2-40B4-BE49-F238E27FC236}">
                  <a16:creationId xmlns:a16="http://schemas.microsoft.com/office/drawing/2014/main" id="{3578EA91-4AB4-1A2A-857D-DC3D90A499E7}"/>
                </a:ext>
              </a:extLst>
            </p:cNvPr>
            <p:cNvSpPr txBox="1"/>
            <p:nvPr/>
          </p:nvSpPr>
          <p:spPr>
            <a:xfrm>
              <a:off x="-10954339" y="2277376"/>
              <a:ext cx="16605841" cy="249519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pt-BR" sz="2000" b="1" i="0" u="none" strike="noStrike" baseline="0" dirty="0">
                  <a:solidFill>
                    <a:schemeClr val="bg2"/>
                  </a:solidFill>
                  <a:latin typeface="Candara" panose="020E0502030303020204" pitchFamily="34" charset="0"/>
                </a:rPr>
                <a:t>Projetor Epson EF-21</a:t>
              </a:r>
              <a:endParaRPr lang="pt-BR" sz="2000" b="1" dirty="0">
                <a:solidFill>
                  <a:schemeClr val="bg2"/>
                </a:solidFill>
                <a:latin typeface="Candara" panose="020E0502030303020204" pitchFamily="34" charset="0"/>
              </a:endParaRPr>
            </a:p>
          </p:txBody>
        </p:sp>
        <p:pic>
          <p:nvPicPr>
            <p:cNvPr id="2054" name="Picture 6" descr="Projetor Epson EpiqVision® Laser Smart EF21 com Conexão USB e HDMI Branco  Diamante - V11HB35020 | Fastshop">
              <a:extLst>
                <a:ext uri="{FF2B5EF4-FFF2-40B4-BE49-F238E27FC236}">
                  <a16:creationId xmlns:a16="http://schemas.microsoft.com/office/drawing/2014/main" id="{A6D0E425-3A2D-D7DE-309D-AA4F27402EEA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828" t="15363" r="6283" b="17787"/>
            <a:stretch>
              <a:fillRect/>
            </a:stretch>
          </p:blipFill>
          <p:spPr bwMode="auto">
            <a:xfrm>
              <a:off x="5651500" y="1136650"/>
              <a:ext cx="6096000" cy="4584700"/>
            </a:xfrm>
            <a:prstGeom prst="round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7" name="CaixaDeTexto 6">
            <a:extLst>
              <a:ext uri="{FF2B5EF4-FFF2-40B4-BE49-F238E27FC236}">
                <a16:creationId xmlns:a16="http://schemas.microsoft.com/office/drawing/2014/main" id="{692A7490-A8DC-1BBE-5551-09A6BEAC64EE}"/>
              </a:ext>
            </a:extLst>
          </p:cNvPr>
          <p:cNvSpPr txBox="1"/>
          <p:nvPr/>
        </p:nvSpPr>
        <p:spPr>
          <a:xfrm>
            <a:off x="755964" y="2598184"/>
            <a:ext cx="6096000" cy="175432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r>
              <a:rPr lang="pt-BR" sz="3600" b="1" i="0" u="none" strike="noStrike" baseline="0" dirty="0">
                <a:solidFill>
                  <a:schemeClr val="bg1"/>
                </a:solidFill>
                <a:latin typeface="Candara" panose="020E0502030303020204" pitchFamily="34" charset="0"/>
              </a:rPr>
              <a:t>Projetor a laser, compacto,</a:t>
            </a:r>
          </a:p>
          <a:p>
            <a:pPr algn="l"/>
            <a:r>
              <a:rPr lang="pt-BR" sz="3600" b="1" i="0" u="none" strike="noStrike" baseline="0" dirty="0">
                <a:solidFill>
                  <a:schemeClr val="bg1"/>
                </a:solidFill>
                <a:latin typeface="Candara" panose="020E0502030303020204" pitchFamily="34" charset="0"/>
              </a:rPr>
              <a:t>Full HD (1080p), com</a:t>
            </a:r>
          </a:p>
          <a:p>
            <a:pPr algn="l"/>
            <a:r>
              <a:rPr lang="pt-BR" sz="3600" b="1" i="0" u="none" strike="noStrike" baseline="0" dirty="0">
                <a:solidFill>
                  <a:schemeClr val="bg1"/>
                </a:solidFill>
                <a:latin typeface="Candara" panose="020E0502030303020204" pitchFamily="34" charset="0"/>
              </a:rPr>
              <a:t>Android TV integrado</a:t>
            </a:r>
            <a:endParaRPr lang="pt-BR" sz="3600" dirty="0">
              <a:solidFill>
                <a:schemeClr val="bg1"/>
              </a:solidFill>
              <a:latin typeface="Candara" panose="020E0502030303020204" pitchFamily="34" charset="0"/>
            </a:endParaRPr>
          </a:p>
        </p:txBody>
      </p:sp>
      <p:pic>
        <p:nvPicPr>
          <p:cNvPr id="8" name="Imagem 7" descr="Tela de um aparelho eletrônico&#10;&#10;O conteúdo gerado por IA pode estar incorreto.">
            <a:extLst>
              <a:ext uri="{FF2B5EF4-FFF2-40B4-BE49-F238E27FC236}">
                <a16:creationId xmlns:a16="http://schemas.microsoft.com/office/drawing/2014/main" id="{B060E306-4890-0093-EA5D-9C42F0CFFF87}"/>
              </a:ext>
            </a:extLst>
          </p:cNvPr>
          <p:cNvPicPr>
            <a:picLocks noChangeAspect="1"/>
          </p:cNvPicPr>
          <p:nvPr/>
        </p:nvPicPr>
        <p:blipFill>
          <a:blip r:embed="rId7"/>
          <a:srcRect t="2550" b="4607"/>
          <a:stretch>
            <a:fillRect/>
          </a:stretch>
        </p:blipFill>
        <p:spPr>
          <a:xfrm flipH="1">
            <a:off x="8032437" y="1966360"/>
            <a:ext cx="3573001" cy="3017975"/>
          </a:xfrm>
          <a:prstGeom prst="roundRect">
            <a:avLst/>
          </a:prstGeom>
        </p:spPr>
      </p:pic>
      <p:sp>
        <p:nvSpPr>
          <p:cNvPr id="10" name="CaixaDeTexto 9">
            <a:extLst>
              <a:ext uri="{FF2B5EF4-FFF2-40B4-BE49-F238E27FC236}">
                <a16:creationId xmlns:a16="http://schemas.microsoft.com/office/drawing/2014/main" id="{A509064B-5FF2-F1AF-F0C1-F1DB37EFCBF7}"/>
              </a:ext>
            </a:extLst>
          </p:cNvPr>
          <p:cNvSpPr txBox="1"/>
          <p:nvPr/>
        </p:nvSpPr>
        <p:spPr>
          <a:xfrm>
            <a:off x="882260" y="5621309"/>
            <a:ext cx="9276080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sz="1800" b="0" i="0" u="none" strike="noStrike" baseline="0" dirty="0">
                <a:solidFill>
                  <a:schemeClr val="bg1"/>
                </a:solidFill>
                <a:latin typeface="Candara" panose="020E0502030303020204" pitchFamily="34" charset="0"/>
              </a:rPr>
              <a:t>Este é o seu cinema portátil! Um projetor inteligente que entrega imagens espetaculares em Full HD onde você quiser, já com seus aplicativos favoritos instalados!" </a:t>
            </a:r>
            <a:endParaRPr lang="pt-BR" dirty="0">
              <a:solidFill>
                <a:schemeClr val="bg1"/>
              </a:solidFill>
              <a:latin typeface="Candara" panose="020E0502030303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29074521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81AC5E23-0485-31E7-D0DA-E9D7DD71969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m 2" descr="Interface gráfica do usuário&#10;&#10;O conteúdo gerado por IA pode estar incorreto.">
            <a:extLst>
              <a:ext uri="{FF2B5EF4-FFF2-40B4-BE49-F238E27FC236}">
                <a16:creationId xmlns:a16="http://schemas.microsoft.com/office/drawing/2014/main" id="{AE391BFD-4BBC-5AD7-E87B-2671188241E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6447" y="248306"/>
            <a:ext cx="1371600" cy="561358"/>
          </a:xfrm>
          <a:prstGeom prst="rect">
            <a:avLst/>
          </a:prstGeom>
        </p:spPr>
      </p:pic>
      <p:pic>
        <p:nvPicPr>
          <p:cNvPr id="1026" name="Picture 2" descr="logo claro PNG &amp; clipart images | Citypng">
            <a:extLst>
              <a:ext uri="{FF2B5EF4-FFF2-40B4-BE49-F238E27FC236}">
                <a16:creationId xmlns:a16="http://schemas.microsoft.com/office/drawing/2014/main" id="{F8280649-F910-DA58-DDF3-E30D63CEDCF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ackgroundRemoval t="8875" b="90500" l="9625" r="90375">
                        <a14:foregroundMark x1="35125" y1="42750" x2="35125" y2="42750"/>
                        <a14:foregroundMark x1="35250" y1="45125" x2="33750" y2="54125"/>
                        <a14:foregroundMark x1="33750" y1="54125" x2="41375" y2="48750"/>
                        <a14:foregroundMark x1="41375" y1="48750" x2="36875" y2="40375"/>
                        <a14:foregroundMark x1="36875" y1="40375" x2="31375" y2="43625"/>
                        <a14:foregroundMark x1="22000" y1="41875" x2="12375" y2="50500"/>
                        <a14:foregroundMark x1="12375" y1="50500" x2="25625" y2="62375"/>
                        <a14:foregroundMark x1="25625" y1="62375" x2="52750" y2="64125"/>
                        <a14:foregroundMark x1="52750" y1="64125" x2="73500" y2="62500"/>
                        <a14:foregroundMark x1="73500" y1="62500" x2="87375" y2="56375"/>
                        <a14:foregroundMark x1="87375" y1="56375" x2="87125" y2="45625"/>
                        <a14:foregroundMark x1="87125" y1="45625" x2="84625" y2="37625"/>
                        <a14:foregroundMark x1="84625" y1="37625" x2="76500" y2="32125"/>
                        <a14:foregroundMark x1="76500" y1="32125" x2="57500" y2="27250"/>
                        <a14:foregroundMark x1="57500" y1="27250" x2="20250" y2="28750"/>
                        <a14:foregroundMark x1="20250" y1="28750" x2="15750" y2="38375"/>
                        <a14:foregroundMark x1="15750" y1="38375" x2="12250" y2="41125"/>
                        <a14:foregroundMark x1="28375" y1="36125" x2="17625" y2="48125"/>
                        <a14:foregroundMark x1="17625" y1="48125" x2="23875" y2="57625"/>
                        <a14:foregroundMark x1="23875" y1="57625" x2="34500" y2="44000"/>
                        <a14:foregroundMark x1="34500" y1="44000" x2="21250" y2="39375"/>
                        <a14:foregroundMark x1="21250" y1="39375" x2="19250" y2="41250"/>
                        <a14:foregroundMark x1="26250" y1="40250" x2="27375" y2="52750"/>
                        <a14:foregroundMark x1="27375" y1="52750" x2="28875" y2="40125"/>
                        <a14:foregroundMark x1="28875" y1="40125" x2="18750" y2="45500"/>
                        <a14:foregroundMark x1="18750" y1="45500" x2="20750" y2="48625"/>
                        <a14:foregroundMark x1="26875" y1="40625" x2="27375" y2="58250"/>
                        <a14:foregroundMark x1="27375" y1="58250" x2="30625" y2="48375"/>
                        <a14:foregroundMark x1="30625" y1="48375" x2="20375" y2="51125"/>
                        <a14:foregroundMark x1="20375" y1="51125" x2="20375" y2="52375"/>
                        <a14:foregroundMark x1="19125" y1="42500" x2="25500" y2="55125"/>
                        <a14:foregroundMark x1="25500" y1="55125" x2="25125" y2="59500"/>
                        <a14:foregroundMark x1="22250" y1="56750" x2="21750" y2="58125"/>
                        <a14:foregroundMark x1="38500" y1="39875" x2="29750" y2="53250"/>
                        <a14:foregroundMark x1="29750" y1="53250" x2="34875" y2="62125"/>
                        <a14:foregroundMark x1="34875" y1="62125" x2="39750" y2="49375"/>
                        <a14:foregroundMark x1="39750" y1="49375" x2="36125" y2="43000"/>
                        <a14:foregroundMark x1="43375" y1="42375" x2="41000" y2="60750"/>
                        <a14:foregroundMark x1="41000" y1="60750" x2="51625" y2="47750"/>
                        <a14:foregroundMark x1="51625" y1="47750" x2="43375" y2="46875"/>
                        <a14:foregroundMark x1="43375" y1="46875" x2="41375" y2="48000"/>
                        <a14:foregroundMark x1="47125" y1="50750" x2="48375" y2="59000"/>
                        <a14:foregroundMark x1="48375" y1="59000" x2="45125" y2="53500"/>
                        <a14:foregroundMark x1="53625" y1="43250" x2="52125" y2="50125"/>
                        <a14:foregroundMark x1="52125" y1="50125" x2="54125" y2="58375"/>
                        <a14:foregroundMark x1="54125" y1="58375" x2="58125" y2="50500"/>
                        <a14:foregroundMark x1="58125" y1="50500" x2="53250" y2="45125"/>
                        <a14:foregroundMark x1="53250" y1="45125" x2="51500" y2="45375"/>
                        <a14:foregroundMark x1="58625" y1="42000" x2="59750" y2="52125"/>
                        <a14:foregroundMark x1="59750" y1="52125" x2="57750" y2="45000"/>
                        <a14:foregroundMark x1="63000" y1="45375" x2="61000" y2="62375"/>
                        <a14:foregroundMark x1="61000" y1="62375" x2="73375" y2="56375"/>
                        <a14:foregroundMark x1="73375" y1="56375" x2="72000" y2="45625"/>
                        <a14:foregroundMark x1="72000" y1="45625" x2="64375" y2="43500"/>
                        <a14:foregroundMark x1="64375" y1="43500" x2="61750" y2="33375"/>
                        <a14:foregroundMark x1="61750" y1="33375" x2="72625" y2="31250"/>
                        <a14:foregroundMark x1="72625" y1="31250" x2="67750" y2="44000"/>
                        <a14:foregroundMark x1="67750" y1="44000" x2="73125" y2="38125"/>
                        <a14:foregroundMark x1="73125" y1="38125" x2="81750" y2="37125"/>
                        <a14:foregroundMark x1="81750" y1="37125" x2="77625" y2="50250"/>
                        <a14:foregroundMark x1="77625" y1="50250" x2="81750" y2="52375"/>
                        <a14:foregroundMark x1="68875" y1="31750" x2="67125" y2="43250"/>
                        <a14:foregroundMark x1="67125" y1="43250" x2="69125" y2="34625"/>
                        <a14:foregroundMark x1="78750" y1="32500" x2="75250" y2="44500"/>
                        <a14:foregroundMark x1="75250" y1="44500" x2="79875" y2="36750"/>
                        <a14:foregroundMark x1="79875" y1="36750" x2="76875" y2="36375"/>
                        <a14:foregroundMark x1="78750" y1="46625" x2="80125" y2="55500"/>
                        <a14:foregroundMark x1="80125" y1="55500" x2="80750" y2="46125"/>
                        <a14:foregroundMark x1="80750" y1="46125" x2="77750" y2="45875"/>
                        <a14:foregroundMark x1="90375" y1="44000" x2="88750" y2="56375"/>
                        <a14:foregroundMark x1="45750" y1="10250" x2="57875" y2="11500"/>
                        <a14:foregroundMark x1="54125" y1="8875" x2="53500" y2="9125"/>
                        <a14:foregroundMark x1="49500" y1="90500" x2="54125" y2="89500"/>
                        <a14:foregroundMark x1="9625" y1="49625" x2="11000" y2="47125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3256" t="7288" r="7881" b="3666"/>
          <a:stretch>
            <a:fillRect/>
          </a:stretch>
        </p:blipFill>
        <p:spPr bwMode="auto">
          <a:xfrm>
            <a:off x="11238614" y="5890437"/>
            <a:ext cx="733648" cy="7351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2" name="Agrupar 1">
            <a:extLst>
              <a:ext uri="{FF2B5EF4-FFF2-40B4-BE49-F238E27FC236}">
                <a16:creationId xmlns:a16="http://schemas.microsoft.com/office/drawing/2014/main" id="{C31CF086-50DB-BF92-8124-C00C1176D9A5}"/>
              </a:ext>
            </a:extLst>
          </p:cNvPr>
          <p:cNvGrpSpPr/>
          <p:nvPr/>
        </p:nvGrpSpPr>
        <p:grpSpPr>
          <a:xfrm>
            <a:off x="8300720" y="330320"/>
            <a:ext cx="3467100" cy="735167"/>
            <a:chOff x="-10954339" y="1136650"/>
            <a:chExt cx="22701839" cy="4584700"/>
          </a:xfrm>
        </p:grpSpPr>
        <p:sp>
          <p:nvSpPr>
            <p:cNvPr id="6" name="CaixaDeTexto 5">
              <a:extLst>
                <a:ext uri="{FF2B5EF4-FFF2-40B4-BE49-F238E27FC236}">
                  <a16:creationId xmlns:a16="http://schemas.microsoft.com/office/drawing/2014/main" id="{1F2B0B08-F842-11E4-B976-5A8626428669}"/>
                </a:ext>
              </a:extLst>
            </p:cNvPr>
            <p:cNvSpPr txBox="1"/>
            <p:nvPr/>
          </p:nvSpPr>
          <p:spPr>
            <a:xfrm>
              <a:off x="-10954339" y="2277376"/>
              <a:ext cx="16605841" cy="249519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pt-BR" sz="2000" b="1" i="0" u="none" strike="noStrike" baseline="0" dirty="0">
                  <a:solidFill>
                    <a:schemeClr val="bg2"/>
                  </a:solidFill>
                  <a:latin typeface="Candara" panose="020E0502030303020204" pitchFamily="34" charset="0"/>
                </a:rPr>
                <a:t>Projetor Epson EF-21</a:t>
              </a:r>
              <a:endParaRPr lang="pt-BR" sz="2000" b="1" dirty="0">
                <a:solidFill>
                  <a:schemeClr val="bg2"/>
                </a:solidFill>
                <a:latin typeface="Candara" panose="020E0502030303020204" pitchFamily="34" charset="0"/>
              </a:endParaRPr>
            </a:p>
          </p:txBody>
        </p:sp>
        <p:pic>
          <p:nvPicPr>
            <p:cNvPr id="2054" name="Picture 6" descr="Projetor Epson EpiqVision® Laser Smart EF21 com Conexão USB e HDMI Branco  Diamante - V11HB35020 | Fastshop">
              <a:extLst>
                <a:ext uri="{FF2B5EF4-FFF2-40B4-BE49-F238E27FC236}">
                  <a16:creationId xmlns:a16="http://schemas.microsoft.com/office/drawing/2014/main" id="{9EF5FE6F-CC2D-3065-CC6E-01CE395AE3C2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828" t="15363" r="6283" b="17787"/>
            <a:stretch>
              <a:fillRect/>
            </a:stretch>
          </p:blipFill>
          <p:spPr bwMode="auto">
            <a:xfrm>
              <a:off x="5651500" y="1136650"/>
              <a:ext cx="6096000" cy="4584700"/>
            </a:xfrm>
            <a:prstGeom prst="round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7" name="Imagem 6" descr="Interface gráfica do usuário, Aplicativo&#10;&#10;O conteúdo gerado por IA pode estar incorreto.">
            <a:extLst>
              <a:ext uri="{FF2B5EF4-FFF2-40B4-BE49-F238E27FC236}">
                <a16:creationId xmlns:a16="http://schemas.microsoft.com/office/drawing/2014/main" id="{76A50CE1-7FDD-C47A-C119-3A4D95169C0A}"/>
              </a:ext>
            </a:extLst>
          </p:cNvPr>
          <p:cNvPicPr>
            <a:picLocks noChangeAspect="1"/>
          </p:cNvPicPr>
          <p:nvPr/>
        </p:nvPicPr>
        <p:blipFill>
          <a:blip r:embed="rId7"/>
          <a:srcRect l="442" t="2850"/>
          <a:stretch>
            <a:fillRect/>
          </a:stretch>
        </p:blipFill>
        <p:spPr>
          <a:xfrm>
            <a:off x="1198880" y="1441753"/>
            <a:ext cx="9422550" cy="4448684"/>
          </a:xfrm>
          <a:prstGeom prst="roundRect">
            <a:avLst>
              <a:gd name="adj" fmla="val 9066"/>
            </a:avLst>
          </a:prstGeom>
        </p:spPr>
      </p:pic>
    </p:spTree>
    <p:extLst>
      <p:ext uri="{BB962C8B-B14F-4D97-AF65-F5344CB8AC3E}">
        <p14:creationId xmlns:p14="http://schemas.microsoft.com/office/powerpoint/2010/main" val="679727399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F1B91245-9CB8-9C0F-D954-87D8A72EEE6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m 2" descr="Interface gráfica do usuário&#10;&#10;O conteúdo gerado por IA pode estar incorreto.">
            <a:extLst>
              <a:ext uri="{FF2B5EF4-FFF2-40B4-BE49-F238E27FC236}">
                <a16:creationId xmlns:a16="http://schemas.microsoft.com/office/drawing/2014/main" id="{B6D42ABB-A845-9C0C-E62F-FC9302813E8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6447" y="248306"/>
            <a:ext cx="1371600" cy="561358"/>
          </a:xfrm>
          <a:prstGeom prst="rect">
            <a:avLst/>
          </a:prstGeom>
        </p:spPr>
      </p:pic>
      <p:pic>
        <p:nvPicPr>
          <p:cNvPr id="1026" name="Picture 2" descr="logo claro PNG &amp; clipart images | Citypng">
            <a:extLst>
              <a:ext uri="{FF2B5EF4-FFF2-40B4-BE49-F238E27FC236}">
                <a16:creationId xmlns:a16="http://schemas.microsoft.com/office/drawing/2014/main" id="{9D9EAA7C-ADDF-2E57-21F5-0797A32D69D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ackgroundRemoval t="8875" b="90500" l="9625" r="90375">
                        <a14:foregroundMark x1="35125" y1="42750" x2="35125" y2="42750"/>
                        <a14:foregroundMark x1="35250" y1="45125" x2="33750" y2="54125"/>
                        <a14:foregroundMark x1="33750" y1="54125" x2="41375" y2="48750"/>
                        <a14:foregroundMark x1="41375" y1="48750" x2="36875" y2="40375"/>
                        <a14:foregroundMark x1="36875" y1="40375" x2="31375" y2="43625"/>
                        <a14:foregroundMark x1="22000" y1="41875" x2="12375" y2="50500"/>
                        <a14:foregroundMark x1="12375" y1="50500" x2="25625" y2="62375"/>
                        <a14:foregroundMark x1="25625" y1="62375" x2="52750" y2="64125"/>
                        <a14:foregroundMark x1="52750" y1="64125" x2="73500" y2="62500"/>
                        <a14:foregroundMark x1="73500" y1="62500" x2="87375" y2="56375"/>
                        <a14:foregroundMark x1="87375" y1="56375" x2="87125" y2="45625"/>
                        <a14:foregroundMark x1="87125" y1="45625" x2="84625" y2="37625"/>
                        <a14:foregroundMark x1="84625" y1="37625" x2="76500" y2="32125"/>
                        <a14:foregroundMark x1="76500" y1="32125" x2="57500" y2="27250"/>
                        <a14:foregroundMark x1="57500" y1="27250" x2="20250" y2="28750"/>
                        <a14:foregroundMark x1="20250" y1="28750" x2="15750" y2="38375"/>
                        <a14:foregroundMark x1="15750" y1="38375" x2="12250" y2="41125"/>
                        <a14:foregroundMark x1="28375" y1="36125" x2="17625" y2="48125"/>
                        <a14:foregroundMark x1="17625" y1="48125" x2="23875" y2="57625"/>
                        <a14:foregroundMark x1="23875" y1="57625" x2="34500" y2="44000"/>
                        <a14:foregroundMark x1="34500" y1="44000" x2="21250" y2="39375"/>
                        <a14:foregroundMark x1="21250" y1="39375" x2="19250" y2="41250"/>
                        <a14:foregroundMark x1="26250" y1="40250" x2="27375" y2="52750"/>
                        <a14:foregroundMark x1="27375" y1="52750" x2="28875" y2="40125"/>
                        <a14:foregroundMark x1="28875" y1="40125" x2="18750" y2="45500"/>
                        <a14:foregroundMark x1="18750" y1="45500" x2="20750" y2="48625"/>
                        <a14:foregroundMark x1="26875" y1="40625" x2="27375" y2="58250"/>
                        <a14:foregroundMark x1="27375" y1="58250" x2="30625" y2="48375"/>
                        <a14:foregroundMark x1="30625" y1="48375" x2="20375" y2="51125"/>
                        <a14:foregroundMark x1="20375" y1="51125" x2="20375" y2="52375"/>
                        <a14:foregroundMark x1="19125" y1="42500" x2="25500" y2="55125"/>
                        <a14:foregroundMark x1="25500" y1="55125" x2="25125" y2="59500"/>
                        <a14:foregroundMark x1="22250" y1="56750" x2="21750" y2="58125"/>
                        <a14:foregroundMark x1="38500" y1="39875" x2="29750" y2="53250"/>
                        <a14:foregroundMark x1="29750" y1="53250" x2="34875" y2="62125"/>
                        <a14:foregroundMark x1="34875" y1="62125" x2="39750" y2="49375"/>
                        <a14:foregroundMark x1="39750" y1="49375" x2="36125" y2="43000"/>
                        <a14:foregroundMark x1="43375" y1="42375" x2="41000" y2="60750"/>
                        <a14:foregroundMark x1="41000" y1="60750" x2="51625" y2="47750"/>
                        <a14:foregroundMark x1="51625" y1="47750" x2="43375" y2="46875"/>
                        <a14:foregroundMark x1="43375" y1="46875" x2="41375" y2="48000"/>
                        <a14:foregroundMark x1="47125" y1="50750" x2="48375" y2="59000"/>
                        <a14:foregroundMark x1="48375" y1="59000" x2="45125" y2="53500"/>
                        <a14:foregroundMark x1="53625" y1="43250" x2="52125" y2="50125"/>
                        <a14:foregroundMark x1="52125" y1="50125" x2="54125" y2="58375"/>
                        <a14:foregroundMark x1="54125" y1="58375" x2="58125" y2="50500"/>
                        <a14:foregroundMark x1="58125" y1="50500" x2="53250" y2="45125"/>
                        <a14:foregroundMark x1="53250" y1="45125" x2="51500" y2="45375"/>
                        <a14:foregroundMark x1="58625" y1="42000" x2="59750" y2="52125"/>
                        <a14:foregroundMark x1="59750" y1="52125" x2="57750" y2="45000"/>
                        <a14:foregroundMark x1="63000" y1="45375" x2="61000" y2="62375"/>
                        <a14:foregroundMark x1="61000" y1="62375" x2="73375" y2="56375"/>
                        <a14:foregroundMark x1="73375" y1="56375" x2="72000" y2="45625"/>
                        <a14:foregroundMark x1="72000" y1="45625" x2="64375" y2="43500"/>
                        <a14:foregroundMark x1="64375" y1="43500" x2="61750" y2="33375"/>
                        <a14:foregroundMark x1="61750" y1="33375" x2="72625" y2="31250"/>
                        <a14:foregroundMark x1="72625" y1="31250" x2="67750" y2="44000"/>
                        <a14:foregroundMark x1="67750" y1="44000" x2="73125" y2="38125"/>
                        <a14:foregroundMark x1="73125" y1="38125" x2="81750" y2="37125"/>
                        <a14:foregroundMark x1="81750" y1="37125" x2="77625" y2="50250"/>
                        <a14:foregroundMark x1="77625" y1="50250" x2="81750" y2="52375"/>
                        <a14:foregroundMark x1="68875" y1="31750" x2="67125" y2="43250"/>
                        <a14:foregroundMark x1="67125" y1="43250" x2="69125" y2="34625"/>
                        <a14:foregroundMark x1="78750" y1="32500" x2="75250" y2="44500"/>
                        <a14:foregroundMark x1="75250" y1="44500" x2="79875" y2="36750"/>
                        <a14:foregroundMark x1="79875" y1="36750" x2="76875" y2="36375"/>
                        <a14:foregroundMark x1="78750" y1="46625" x2="80125" y2="55500"/>
                        <a14:foregroundMark x1="80125" y1="55500" x2="80750" y2="46125"/>
                        <a14:foregroundMark x1="80750" y1="46125" x2="77750" y2="45875"/>
                        <a14:foregroundMark x1="90375" y1="44000" x2="88750" y2="56375"/>
                        <a14:foregroundMark x1="45750" y1="10250" x2="57875" y2="11500"/>
                        <a14:foregroundMark x1="54125" y1="8875" x2="53500" y2="9125"/>
                        <a14:foregroundMark x1="49500" y1="90500" x2="54125" y2="89500"/>
                        <a14:foregroundMark x1="9625" y1="49625" x2="11000" y2="47125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3256" t="7288" r="7881" b="3666"/>
          <a:stretch>
            <a:fillRect/>
          </a:stretch>
        </p:blipFill>
        <p:spPr bwMode="auto">
          <a:xfrm>
            <a:off x="11238614" y="5890437"/>
            <a:ext cx="733648" cy="7351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2" name="Agrupar 1">
            <a:extLst>
              <a:ext uri="{FF2B5EF4-FFF2-40B4-BE49-F238E27FC236}">
                <a16:creationId xmlns:a16="http://schemas.microsoft.com/office/drawing/2014/main" id="{4518E644-A571-FF45-90AD-70C63379556D}"/>
              </a:ext>
            </a:extLst>
          </p:cNvPr>
          <p:cNvGrpSpPr/>
          <p:nvPr/>
        </p:nvGrpSpPr>
        <p:grpSpPr>
          <a:xfrm>
            <a:off x="8280400" y="442080"/>
            <a:ext cx="3467100" cy="735167"/>
            <a:chOff x="-10954339" y="1136650"/>
            <a:chExt cx="22701839" cy="4584700"/>
          </a:xfrm>
        </p:grpSpPr>
        <p:sp>
          <p:nvSpPr>
            <p:cNvPr id="6" name="CaixaDeTexto 5">
              <a:extLst>
                <a:ext uri="{FF2B5EF4-FFF2-40B4-BE49-F238E27FC236}">
                  <a16:creationId xmlns:a16="http://schemas.microsoft.com/office/drawing/2014/main" id="{6177B1B0-C16D-C841-C8D9-6A8764CF6018}"/>
                </a:ext>
              </a:extLst>
            </p:cNvPr>
            <p:cNvSpPr txBox="1"/>
            <p:nvPr/>
          </p:nvSpPr>
          <p:spPr>
            <a:xfrm>
              <a:off x="-10954339" y="2277376"/>
              <a:ext cx="16605841" cy="249519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pt-BR" sz="2000" b="1" i="0" u="none" strike="noStrike" baseline="0" dirty="0">
                  <a:solidFill>
                    <a:schemeClr val="bg2"/>
                  </a:solidFill>
                  <a:latin typeface="Candara" panose="020E0502030303020204" pitchFamily="34" charset="0"/>
                </a:rPr>
                <a:t>Projetor Epson EF-21</a:t>
              </a:r>
              <a:endParaRPr lang="pt-BR" sz="2000" b="1" dirty="0">
                <a:solidFill>
                  <a:schemeClr val="bg2"/>
                </a:solidFill>
                <a:latin typeface="Candara" panose="020E0502030303020204" pitchFamily="34" charset="0"/>
              </a:endParaRPr>
            </a:p>
          </p:txBody>
        </p:sp>
        <p:pic>
          <p:nvPicPr>
            <p:cNvPr id="2054" name="Picture 6" descr="Projetor Epson EpiqVision® Laser Smart EF21 com Conexão USB e HDMI Branco  Diamante - V11HB35020 | Fastshop">
              <a:extLst>
                <a:ext uri="{FF2B5EF4-FFF2-40B4-BE49-F238E27FC236}">
                  <a16:creationId xmlns:a16="http://schemas.microsoft.com/office/drawing/2014/main" id="{B943F4BC-22EF-496F-06EF-6CE3B0C6746A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828" t="15363" r="6283" b="17787"/>
            <a:stretch>
              <a:fillRect/>
            </a:stretch>
          </p:blipFill>
          <p:spPr bwMode="auto">
            <a:xfrm>
              <a:off x="5651500" y="1136650"/>
              <a:ext cx="6096000" cy="4584700"/>
            </a:xfrm>
            <a:prstGeom prst="round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9" name="Imagem 8" descr="Tela de computador com texto preto sobre fundo branco&#10;&#10;O conteúdo gerado por IA pode estar incorreto.">
            <a:extLst>
              <a:ext uri="{FF2B5EF4-FFF2-40B4-BE49-F238E27FC236}">
                <a16:creationId xmlns:a16="http://schemas.microsoft.com/office/drawing/2014/main" id="{2B7B06EB-8CFC-FF88-C26A-9B133B5CCC7B}"/>
              </a:ext>
            </a:extLst>
          </p:cNvPr>
          <p:cNvPicPr>
            <a:picLocks noChangeAspect="1"/>
          </p:cNvPicPr>
          <p:nvPr/>
        </p:nvPicPr>
        <p:blipFill>
          <a:blip r:embed="rId7"/>
          <a:srcRect t="9173" b="6018"/>
          <a:stretch>
            <a:fillRect/>
          </a:stretch>
        </p:blipFill>
        <p:spPr>
          <a:xfrm>
            <a:off x="1046480" y="1245328"/>
            <a:ext cx="9397573" cy="5094511"/>
          </a:xfrm>
          <a:prstGeom prst="roundRect">
            <a:avLst>
              <a:gd name="adj" fmla="val 13133"/>
            </a:avLst>
          </a:prstGeom>
        </p:spPr>
      </p:pic>
    </p:spTree>
    <p:extLst>
      <p:ext uri="{BB962C8B-B14F-4D97-AF65-F5344CB8AC3E}">
        <p14:creationId xmlns:p14="http://schemas.microsoft.com/office/powerpoint/2010/main" val="80257466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9508230A-85B4-B70B-4CEE-50E95BC9357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m 2" descr="Interface gráfica do usuário&#10;&#10;O conteúdo gerado por IA pode estar incorreto.">
            <a:extLst>
              <a:ext uri="{FF2B5EF4-FFF2-40B4-BE49-F238E27FC236}">
                <a16:creationId xmlns:a16="http://schemas.microsoft.com/office/drawing/2014/main" id="{83CD14CB-38FE-7C3A-036F-D16884B22C8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6447" y="248306"/>
            <a:ext cx="1371600" cy="561358"/>
          </a:xfrm>
          <a:prstGeom prst="rect">
            <a:avLst/>
          </a:prstGeom>
        </p:spPr>
      </p:pic>
      <p:pic>
        <p:nvPicPr>
          <p:cNvPr id="1026" name="Picture 2" descr="logo claro PNG &amp; clipart images | Citypng">
            <a:extLst>
              <a:ext uri="{FF2B5EF4-FFF2-40B4-BE49-F238E27FC236}">
                <a16:creationId xmlns:a16="http://schemas.microsoft.com/office/drawing/2014/main" id="{F09CE9D1-E2C1-68AE-8565-B10AE409499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ackgroundRemoval t="8875" b="90500" l="9625" r="90375">
                        <a14:foregroundMark x1="35125" y1="42750" x2="35125" y2="42750"/>
                        <a14:foregroundMark x1="35250" y1="45125" x2="33750" y2="54125"/>
                        <a14:foregroundMark x1="33750" y1="54125" x2="41375" y2="48750"/>
                        <a14:foregroundMark x1="41375" y1="48750" x2="36875" y2="40375"/>
                        <a14:foregroundMark x1="36875" y1="40375" x2="31375" y2="43625"/>
                        <a14:foregroundMark x1="22000" y1="41875" x2="12375" y2="50500"/>
                        <a14:foregroundMark x1="12375" y1="50500" x2="25625" y2="62375"/>
                        <a14:foregroundMark x1="25625" y1="62375" x2="52750" y2="64125"/>
                        <a14:foregroundMark x1="52750" y1="64125" x2="73500" y2="62500"/>
                        <a14:foregroundMark x1="73500" y1="62500" x2="87375" y2="56375"/>
                        <a14:foregroundMark x1="87375" y1="56375" x2="87125" y2="45625"/>
                        <a14:foregroundMark x1="87125" y1="45625" x2="84625" y2="37625"/>
                        <a14:foregroundMark x1="84625" y1="37625" x2="76500" y2="32125"/>
                        <a14:foregroundMark x1="76500" y1="32125" x2="57500" y2="27250"/>
                        <a14:foregroundMark x1="57500" y1="27250" x2="20250" y2="28750"/>
                        <a14:foregroundMark x1="20250" y1="28750" x2="15750" y2="38375"/>
                        <a14:foregroundMark x1="15750" y1="38375" x2="12250" y2="41125"/>
                        <a14:foregroundMark x1="28375" y1="36125" x2="17625" y2="48125"/>
                        <a14:foregroundMark x1="17625" y1="48125" x2="23875" y2="57625"/>
                        <a14:foregroundMark x1="23875" y1="57625" x2="34500" y2="44000"/>
                        <a14:foregroundMark x1="34500" y1="44000" x2="21250" y2="39375"/>
                        <a14:foregroundMark x1="21250" y1="39375" x2="19250" y2="41250"/>
                        <a14:foregroundMark x1="26250" y1="40250" x2="27375" y2="52750"/>
                        <a14:foregroundMark x1="27375" y1="52750" x2="28875" y2="40125"/>
                        <a14:foregroundMark x1="28875" y1="40125" x2="18750" y2="45500"/>
                        <a14:foregroundMark x1="18750" y1="45500" x2="20750" y2="48625"/>
                        <a14:foregroundMark x1="26875" y1="40625" x2="27375" y2="58250"/>
                        <a14:foregroundMark x1="27375" y1="58250" x2="30625" y2="48375"/>
                        <a14:foregroundMark x1="30625" y1="48375" x2="20375" y2="51125"/>
                        <a14:foregroundMark x1="20375" y1="51125" x2="20375" y2="52375"/>
                        <a14:foregroundMark x1="19125" y1="42500" x2="25500" y2="55125"/>
                        <a14:foregroundMark x1="25500" y1="55125" x2="25125" y2="59500"/>
                        <a14:foregroundMark x1="22250" y1="56750" x2="21750" y2="58125"/>
                        <a14:foregroundMark x1="38500" y1="39875" x2="29750" y2="53250"/>
                        <a14:foregroundMark x1="29750" y1="53250" x2="34875" y2="62125"/>
                        <a14:foregroundMark x1="34875" y1="62125" x2="39750" y2="49375"/>
                        <a14:foregroundMark x1="39750" y1="49375" x2="36125" y2="43000"/>
                        <a14:foregroundMark x1="43375" y1="42375" x2="41000" y2="60750"/>
                        <a14:foregroundMark x1="41000" y1="60750" x2="51625" y2="47750"/>
                        <a14:foregroundMark x1="51625" y1="47750" x2="43375" y2="46875"/>
                        <a14:foregroundMark x1="43375" y1="46875" x2="41375" y2="48000"/>
                        <a14:foregroundMark x1="47125" y1="50750" x2="48375" y2="59000"/>
                        <a14:foregroundMark x1="48375" y1="59000" x2="45125" y2="53500"/>
                        <a14:foregroundMark x1="53625" y1="43250" x2="52125" y2="50125"/>
                        <a14:foregroundMark x1="52125" y1="50125" x2="54125" y2="58375"/>
                        <a14:foregroundMark x1="54125" y1="58375" x2="58125" y2="50500"/>
                        <a14:foregroundMark x1="58125" y1="50500" x2="53250" y2="45125"/>
                        <a14:foregroundMark x1="53250" y1="45125" x2="51500" y2="45375"/>
                        <a14:foregroundMark x1="58625" y1="42000" x2="59750" y2="52125"/>
                        <a14:foregroundMark x1="59750" y1="52125" x2="57750" y2="45000"/>
                        <a14:foregroundMark x1="63000" y1="45375" x2="61000" y2="62375"/>
                        <a14:foregroundMark x1="61000" y1="62375" x2="73375" y2="56375"/>
                        <a14:foregroundMark x1="73375" y1="56375" x2="72000" y2="45625"/>
                        <a14:foregroundMark x1="72000" y1="45625" x2="64375" y2="43500"/>
                        <a14:foregroundMark x1="64375" y1="43500" x2="61750" y2="33375"/>
                        <a14:foregroundMark x1="61750" y1="33375" x2="72625" y2="31250"/>
                        <a14:foregroundMark x1="72625" y1="31250" x2="67750" y2="44000"/>
                        <a14:foregroundMark x1="67750" y1="44000" x2="73125" y2="38125"/>
                        <a14:foregroundMark x1="73125" y1="38125" x2="81750" y2="37125"/>
                        <a14:foregroundMark x1="81750" y1="37125" x2="77625" y2="50250"/>
                        <a14:foregroundMark x1="77625" y1="50250" x2="81750" y2="52375"/>
                        <a14:foregroundMark x1="68875" y1="31750" x2="67125" y2="43250"/>
                        <a14:foregroundMark x1="67125" y1="43250" x2="69125" y2="34625"/>
                        <a14:foregroundMark x1="78750" y1="32500" x2="75250" y2="44500"/>
                        <a14:foregroundMark x1="75250" y1="44500" x2="79875" y2="36750"/>
                        <a14:foregroundMark x1="79875" y1="36750" x2="76875" y2="36375"/>
                        <a14:foregroundMark x1="78750" y1="46625" x2="80125" y2="55500"/>
                        <a14:foregroundMark x1="80125" y1="55500" x2="80750" y2="46125"/>
                        <a14:foregroundMark x1="80750" y1="46125" x2="77750" y2="45875"/>
                        <a14:foregroundMark x1="90375" y1="44000" x2="88750" y2="56375"/>
                        <a14:foregroundMark x1="45750" y1="10250" x2="57875" y2="11500"/>
                        <a14:foregroundMark x1="54125" y1="8875" x2="53500" y2="9125"/>
                        <a14:foregroundMark x1="49500" y1="90500" x2="54125" y2="89500"/>
                        <a14:foregroundMark x1="9625" y1="49625" x2="11000" y2="47125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3256" t="7288" r="7881" b="3666"/>
          <a:stretch>
            <a:fillRect/>
          </a:stretch>
        </p:blipFill>
        <p:spPr bwMode="auto">
          <a:xfrm>
            <a:off x="11238614" y="5890437"/>
            <a:ext cx="733648" cy="7351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CaixaDeTexto 6">
            <a:extLst>
              <a:ext uri="{FF2B5EF4-FFF2-40B4-BE49-F238E27FC236}">
                <a16:creationId xmlns:a16="http://schemas.microsoft.com/office/drawing/2014/main" id="{B16F0B91-F9F7-3038-9C75-9208B9B48EC7}"/>
              </a:ext>
            </a:extLst>
          </p:cNvPr>
          <p:cNvSpPr txBox="1"/>
          <p:nvPr/>
        </p:nvSpPr>
        <p:spPr>
          <a:xfrm>
            <a:off x="3416461" y="968573"/>
            <a:ext cx="4572000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 algn="ctr">
              <a:spcBef>
                <a:spcPts val="1200"/>
              </a:spcBef>
            </a:pPr>
            <a:r>
              <a:rPr lang="pt-BR" sz="2400" dirty="0">
                <a:solidFill>
                  <a:schemeClr val="bg2"/>
                </a:solidFill>
                <a:latin typeface="Candara" panose="020E0502030303020204" pitchFamily="34" charset="0"/>
                <a:ea typeface="Quattrocento Sans"/>
                <a:cs typeface="Segoe UI" panose="020B0502040204020203" pitchFamily="34" charset="0"/>
                <a:sym typeface="Quattrocento Sans"/>
              </a:rPr>
              <a:t>Assistentes Virtuais!</a:t>
            </a:r>
          </a:p>
        </p:txBody>
      </p:sp>
      <p:sp>
        <p:nvSpPr>
          <p:cNvPr id="8" name="CaixaDeTexto 7">
            <a:extLst>
              <a:ext uri="{FF2B5EF4-FFF2-40B4-BE49-F238E27FC236}">
                <a16:creationId xmlns:a16="http://schemas.microsoft.com/office/drawing/2014/main" id="{0B4FBC65-263A-8998-2314-71B406DB39F6}"/>
              </a:ext>
            </a:extLst>
          </p:cNvPr>
          <p:cNvSpPr txBox="1"/>
          <p:nvPr/>
        </p:nvSpPr>
        <p:spPr>
          <a:xfrm>
            <a:off x="246138" y="1944576"/>
            <a:ext cx="3994847" cy="172354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>
              <a:spcBef>
                <a:spcPts val="1200"/>
              </a:spcBef>
            </a:pPr>
            <a:r>
              <a:rPr lang="pt-BR" sz="2400" b="1" i="1" u="sng" dirty="0">
                <a:solidFill>
                  <a:schemeClr val="bg2"/>
                </a:solidFill>
                <a:latin typeface="Candara" panose="020E0502030303020204" pitchFamily="34" charset="0"/>
                <a:ea typeface="Quattrocento Sans"/>
                <a:cs typeface="Times New Roman" panose="02020603050405020304" pitchFamily="18" charset="0"/>
                <a:sym typeface="Quattrocento Sans"/>
              </a:rPr>
              <a:t>INTELIGÊNCIA ARTIFICIAL</a:t>
            </a:r>
          </a:p>
          <a:p>
            <a:pPr lvl="0" algn="ctr">
              <a:spcBef>
                <a:spcPts val="1200"/>
              </a:spcBef>
            </a:pPr>
            <a:r>
              <a:rPr lang="pt-BR" sz="2400" dirty="0">
                <a:solidFill>
                  <a:schemeClr val="bg2"/>
                </a:solidFill>
                <a:latin typeface="Candara" panose="020E0502030303020204" pitchFamily="34" charset="0"/>
                <a:ea typeface="Quattrocento Sans"/>
                <a:cs typeface="Segoe UI" panose="020B0502040204020203" pitchFamily="34" charset="0"/>
                <a:sym typeface="Quattrocento Sans"/>
              </a:rPr>
              <a:t>Como você já sabe, aqui na Claro </a:t>
            </a:r>
            <a:br>
              <a:rPr lang="pt-BR" sz="2400" dirty="0">
                <a:solidFill>
                  <a:schemeClr val="bg2"/>
                </a:solidFill>
                <a:latin typeface="Candara" panose="020E0502030303020204" pitchFamily="34" charset="0"/>
                <a:ea typeface="Quattrocento Sans"/>
                <a:cs typeface="Segoe UI" panose="020B0502040204020203" pitchFamily="34" charset="0"/>
                <a:sym typeface="Quattrocento Sans"/>
              </a:rPr>
            </a:br>
            <a:r>
              <a:rPr lang="pt-BR" sz="2400" dirty="0">
                <a:solidFill>
                  <a:schemeClr val="bg2"/>
                </a:solidFill>
                <a:latin typeface="Candara" panose="020E0502030303020204" pitchFamily="34" charset="0"/>
                <a:ea typeface="Quattrocento Sans"/>
                <a:cs typeface="Segoe UI" panose="020B0502040204020203" pitchFamily="34" charset="0"/>
                <a:sym typeface="Quattrocento Sans"/>
              </a:rPr>
              <a:t>comercializamos a</a:t>
            </a:r>
            <a:endParaRPr lang="pt-BR" sz="2400" b="1" i="1" u="sng" dirty="0">
              <a:solidFill>
                <a:schemeClr val="bg2"/>
              </a:solidFill>
              <a:latin typeface="Candara" panose="020E0502030303020204" pitchFamily="34" charset="0"/>
              <a:ea typeface="Quattrocento Sans"/>
              <a:cs typeface="Times New Roman" panose="02020603050405020304" pitchFamily="18" charset="0"/>
              <a:sym typeface="Quattrocento Sans"/>
            </a:endParaRPr>
          </a:p>
        </p:txBody>
      </p:sp>
      <p:pic>
        <p:nvPicPr>
          <p:cNvPr id="13" name="Imagem 12" descr="Caixa de som preta em fundo azul&#10;&#10;Descrição gerada automaticamente com confiança média">
            <a:extLst>
              <a:ext uri="{FF2B5EF4-FFF2-40B4-BE49-F238E27FC236}">
                <a16:creationId xmlns:a16="http://schemas.microsoft.com/office/drawing/2014/main" id="{58B09E90-B31A-3B19-CB5B-BE1B6503ACC0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3250" t="-9760" r="-3250"/>
          <a:stretch/>
        </p:blipFill>
        <p:spPr>
          <a:xfrm>
            <a:off x="4479544" y="2140545"/>
            <a:ext cx="4355946" cy="4355946"/>
          </a:xfrm>
          <a:prstGeom prst="ellipse">
            <a:avLst/>
          </a:prstGeom>
          <a:solidFill>
            <a:srgbClr val="FFFFFF"/>
          </a:solidFill>
          <a:effectLst>
            <a:glow rad="254000">
              <a:schemeClr val="bg1">
                <a:lumMod val="95000"/>
                <a:alpha val="40000"/>
              </a:schemeClr>
            </a:glow>
          </a:effectLst>
        </p:spPr>
      </p:pic>
      <p:pic>
        <p:nvPicPr>
          <p:cNvPr id="14" name="Imagem 13" descr="Logotipo, Ícone&#10;&#10;Descrição gerada automaticamente">
            <a:extLst>
              <a:ext uri="{FF2B5EF4-FFF2-40B4-BE49-F238E27FC236}">
                <a16:creationId xmlns:a16="http://schemas.microsoft.com/office/drawing/2014/main" id="{A8BCB0BF-A2CD-1D97-4D03-FD9A5E1C9E61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16060" b="-16060"/>
          <a:stretch/>
        </p:blipFill>
        <p:spPr>
          <a:xfrm>
            <a:off x="8465578" y="1430238"/>
            <a:ext cx="1448889" cy="1448889"/>
          </a:xfrm>
          <a:prstGeom prst="ellipse">
            <a:avLst/>
          </a:prstGeom>
          <a:solidFill>
            <a:srgbClr val="FFFFFF"/>
          </a:solidFill>
          <a:effectLst>
            <a:glow rad="254000">
              <a:schemeClr val="bg1">
                <a:lumMod val="95000"/>
                <a:alpha val="40000"/>
              </a:schemeClr>
            </a:glow>
          </a:effectLst>
        </p:spPr>
      </p:pic>
    </p:spTree>
    <p:extLst>
      <p:ext uri="{BB962C8B-B14F-4D97-AF65-F5344CB8AC3E}">
        <p14:creationId xmlns:p14="http://schemas.microsoft.com/office/powerpoint/2010/main" val="113258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37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Vertical)">
                                      <p:cBhvr>
                                        <p:cTn id="7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6" presetClass="entr" presetSubtype="37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Vertical)">
                                      <p:cBhvr>
                                        <p:cTn id="10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6C5E849D-7612-2AE3-3934-F2F9FD6EFA0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m 2" descr="Interface gráfica do usuário&#10;&#10;O conteúdo gerado por IA pode estar incorreto.">
            <a:extLst>
              <a:ext uri="{FF2B5EF4-FFF2-40B4-BE49-F238E27FC236}">
                <a16:creationId xmlns:a16="http://schemas.microsoft.com/office/drawing/2014/main" id="{ACE204CC-8D45-5389-43EB-BEEEF82CA28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6447" y="248306"/>
            <a:ext cx="1371600" cy="561358"/>
          </a:xfrm>
          <a:prstGeom prst="rect">
            <a:avLst/>
          </a:prstGeom>
        </p:spPr>
      </p:pic>
      <p:pic>
        <p:nvPicPr>
          <p:cNvPr id="1026" name="Picture 2" descr="logo claro PNG &amp; clipart images | Citypng">
            <a:extLst>
              <a:ext uri="{FF2B5EF4-FFF2-40B4-BE49-F238E27FC236}">
                <a16:creationId xmlns:a16="http://schemas.microsoft.com/office/drawing/2014/main" id="{90CB3A7E-71BD-D80E-CF26-E594964D0C7A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ackgroundRemoval t="8875" b="90500" l="9625" r="90375">
                        <a14:foregroundMark x1="35125" y1="42750" x2="35125" y2="42750"/>
                        <a14:foregroundMark x1="35250" y1="45125" x2="33750" y2="54125"/>
                        <a14:foregroundMark x1="33750" y1="54125" x2="41375" y2="48750"/>
                        <a14:foregroundMark x1="41375" y1="48750" x2="36875" y2="40375"/>
                        <a14:foregroundMark x1="36875" y1="40375" x2="31375" y2="43625"/>
                        <a14:foregroundMark x1="22000" y1="41875" x2="12375" y2="50500"/>
                        <a14:foregroundMark x1="12375" y1="50500" x2="25625" y2="62375"/>
                        <a14:foregroundMark x1="25625" y1="62375" x2="52750" y2="64125"/>
                        <a14:foregroundMark x1="52750" y1="64125" x2="73500" y2="62500"/>
                        <a14:foregroundMark x1="73500" y1="62500" x2="87375" y2="56375"/>
                        <a14:foregroundMark x1="87375" y1="56375" x2="87125" y2="45625"/>
                        <a14:foregroundMark x1="87125" y1="45625" x2="84625" y2="37625"/>
                        <a14:foregroundMark x1="84625" y1="37625" x2="76500" y2="32125"/>
                        <a14:foregroundMark x1="76500" y1="32125" x2="57500" y2="27250"/>
                        <a14:foregroundMark x1="57500" y1="27250" x2="20250" y2="28750"/>
                        <a14:foregroundMark x1="20250" y1="28750" x2="15750" y2="38375"/>
                        <a14:foregroundMark x1="15750" y1="38375" x2="12250" y2="41125"/>
                        <a14:foregroundMark x1="28375" y1="36125" x2="17625" y2="48125"/>
                        <a14:foregroundMark x1="17625" y1="48125" x2="23875" y2="57625"/>
                        <a14:foregroundMark x1="23875" y1="57625" x2="34500" y2="44000"/>
                        <a14:foregroundMark x1="34500" y1="44000" x2="21250" y2="39375"/>
                        <a14:foregroundMark x1="21250" y1="39375" x2="19250" y2="41250"/>
                        <a14:foregroundMark x1="26250" y1="40250" x2="27375" y2="52750"/>
                        <a14:foregroundMark x1="27375" y1="52750" x2="28875" y2="40125"/>
                        <a14:foregroundMark x1="28875" y1="40125" x2="18750" y2="45500"/>
                        <a14:foregroundMark x1="18750" y1="45500" x2="20750" y2="48625"/>
                        <a14:foregroundMark x1="26875" y1="40625" x2="27375" y2="58250"/>
                        <a14:foregroundMark x1="27375" y1="58250" x2="30625" y2="48375"/>
                        <a14:foregroundMark x1="30625" y1="48375" x2="20375" y2="51125"/>
                        <a14:foregroundMark x1="20375" y1="51125" x2="20375" y2="52375"/>
                        <a14:foregroundMark x1="19125" y1="42500" x2="25500" y2="55125"/>
                        <a14:foregroundMark x1="25500" y1="55125" x2="25125" y2="59500"/>
                        <a14:foregroundMark x1="22250" y1="56750" x2="21750" y2="58125"/>
                        <a14:foregroundMark x1="38500" y1="39875" x2="29750" y2="53250"/>
                        <a14:foregroundMark x1="29750" y1="53250" x2="34875" y2="62125"/>
                        <a14:foregroundMark x1="34875" y1="62125" x2="39750" y2="49375"/>
                        <a14:foregroundMark x1="39750" y1="49375" x2="36125" y2="43000"/>
                        <a14:foregroundMark x1="43375" y1="42375" x2="41000" y2="60750"/>
                        <a14:foregroundMark x1="41000" y1="60750" x2="51625" y2="47750"/>
                        <a14:foregroundMark x1="51625" y1="47750" x2="43375" y2="46875"/>
                        <a14:foregroundMark x1="43375" y1="46875" x2="41375" y2="48000"/>
                        <a14:foregroundMark x1="47125" y1="50750" x2="48375" y2="59000"/>
                        <a14:foregroundMark x1="48375" y1="59000" x2="45125" y2="53500"/>
                        <a14:foregroundMark x1="53625" y1="43250" x2="52125" y2="50125"/>
                        <a14:foregroundMark x1="52125" y1="50125" x2="54125" y2="58375"/>
                        <a14:foregroundMark x1="54125" y1="58375" x2="58125" y2="50500"/>
                        <a14:foregroundMark x1="58125" y1="50500" x2="53250" y2="45125"/>
                        <a14:foregroundMark x1="53250" y1="45125" x2="51500" y2="45375"/>
                        <a14:foregroundMark x1="58625" y1="42000" x2="59750" y2="52125"/>
                        <a14:foregroundMark x1="59750" y1="52125" x2="57750" y2="45000"/>
                        <a14:foregroundMark x1="63000" y1="45375" x2="61000" y2="62375"/>
                        <a14:foregroundMark x1="61000" y1="62375" x2="73375" y2="56375"/>
                        <a14:foregroundMark x1="73375" y1="56375" x2="72000" y2="45625"/>
                        <a14:foregroundMark x1="72000" y1="45625" x2="64375" y2="43500"/>
                        <a14:foregroundMark x1="64375" y1="43500" x2="61750" y2="33375"/>
                        <a14:foregroundMark x1="61750" y1="33375" x2="72625" y2="31250"/>
                        <a14:foregroundMark x1="72625" y1="31250" x2="67750" y2="44000"/>
                        <a14:foregroundMark x1="67750" y1="44000" x2="73125" y2="38125"/>
                        <a14:foregroundMark x1="73125" y1="38125" x2="81750" y2="37125"/>
                        <a14:foregroundMark x1="81750" y1="37125" x2="77625" y2="50250"/>
                        <a14:foregroundMark x1="77625" y1="50250" x2="81750" y2="52375"/>
                        <a14:foregroundMark x1="68875" y1="31750" x2="67125" y2="43250"/>
                        <a14:foregroundMark x1="67125" y1="43250" x2="69125" y2="34625"/>
                        <a14:foregroundMark x1="78750" y1="32500" x2="75250" y2="44500"/>
                        <a14:foregroundMark x1="75250" y1="44500" x2="79875" y2="36750"/>
                        <a14:foregroundMark x1="79875" y1="36750" x2="76875" y2="36375"/>
                        <a14:foregroundMark x1="78750" y1="46625" x2="80125" y2="55500"/>
                        <a14:foregroundMark x1="80125" y1="55500" x2="80750" y2="46125"/>
                        <a14:foregroundMark x1="80750" y1="46125" x2="77750" y2="45875"/>
                        <a14:foregroundMark x1="90375" y1="44000" x2="88750" y2="56375"/>
                        <a14:foregroundMark x1="45750" y1="10250" x2="57875" y2="11500"/>
                        <a14:foregroundMark x1="54125" y1="8875" x2="53500" y2="9125"/>
                        <a14:foregroundMark x1="49500" y1="90500" x2="54125" y2="89500"/>
                        <a14:foregroundMark x1="9625" y1="49625" x2="11000" y2="47125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3256" t="7288" r="7881" b="3666"/>
          <a:stretch>
            <a:fillRect/>
          </a:stretch>
        </p:blipFill>
        <p:spPr bwMode="auto">
          <a:xfrm>
            <a:off x="11238614" y="5890437"/>
            <a:ext cx="733648" cy="7351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2" name="Agrupar 1">
            <a:extLst>
              <a:ext uri="{FF2B5EF4-FFF2-40B4-BE49-F238E27FC236}">
                <a16:creationId xmlns:a16="http://schemas.microsoft.com/office/drawing/2014/main" id="{D13B65E8-C180-6DD4-CB4F-C2BF0350B65F}"/>
              </a:ext>
            </a:extLst>
          </p:cNvPr>
          <p:cNvGrpSpPr/>
          <p:nvPr/>
        </p:nvGrpSpPr>
        <p:grpSpPr>
          <a:xfrm>
            <a:off x="8280400" y="442080"/>
            <a:ext cx="3467100" cy="735167"/>
            <a:chOff x="-10954339" y="1136650"/>
            <a:chExt cx="22701839" cy="4584700"/>
          </a:xfrm>
        </p:grpSpPr>
        <p:sp>
          <p:nvSpPr>
            <p:cNvPr id="6" name="CaixaDeTexto 5">
              <a:extLst>
                <a:ext uri="{FF2B5EF4-FFF2-40B4-BE49-F238E27FC236}">
                  <a16:creationId xmlns:a16="http://schemas.microsoft.com/office/drawing/2014/main" id="{376C2288-EFAE-AA3D-8ADE-5E259C216CAB}"/>
                </a:ext>
              </a:extLst>
            </p:cNvPr>
            <p:cNvSpPr txBox="1"/>
            <p:nvPr/>
          </p:nvSpPr>
          <p:spPr>
            <a:xfrm>
              <a:off x="-10954339" y="2277376"/>
              <a:ext cx="16605841" cy="249519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pt-BR" sz="2000" b="1" i="0" u="none" strike="noStrike" baseline="0" dirty="0">
                  <a:solidFill>
                    <a:schemeClr val="bg2"/>
                  </a:solidFill>
                  <a:latin typeface="Candara" panose="020E0502030303020204" pitchFamily="34" charset="0"/>
                </a:rPr>
                <a:t>Projetor Epson EF-21</a:t>
              </a:r>
              <a:endParaRPr lang="pt-BR" sz="2000" b="1" dirty="0">
                <a:solidFill>
                  <a:schemeClr val="bg2"/>
                </a:solidFill>
                <a:latin typeface="Candara" panose="020E0502030303020204" pitchFamily="34" charset="0"/>
              </a:endParaRPr>
            </a:p>
          </p:txBody>
        </p:sp>
        <p:pic>
          <p:nvPicPr>
            <p:cNvPr id="2054" name="Picture 6" descr="Projetor Epson EpiqVision® Laser Smart EF21 com Conexão USB e HDMI Branco  Diamante - V11HB35020 | Fastshop">
              <a:extLst>
                <a:ext uri="{FF2B5EF4-FFF2-40B4-BE49-F238E27FC236}">
                  <a16:creationId xmlns:a16="http://schemas.microsoft.com/office/drawing/2014/main" id="{E38BE6AA-3035-975A-6EC8-542A23F3178F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828" t="15363" r="6283" b="17787"/>
            <a:stretch>
              <a:fillRect/>
            </a:stretch>
          </p:blipFill>
          <p:spPr bwMode="auto">
            <a:xfrm>
              <a:off x="5651500" y="1136650"/>
              <a:ext cx="6096000" cy="4584700"/>
            </a:xfrm>
            <a:prstGeom prst="round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7" name="Imagem 6" descr="Interface gráfica do usuário, Aplicativo&#10;&#10;O conteúdo gerado por IA pode estar incorreto.">
            <a:extLst>
              <a:ext uri="{FF2B5EF4-FFF2-40B4-BE49-F238E27FC236}">
                <a16:creationId xmlns:a16="http://schemas.microsoft.com/office/drawing/2014/main" id="{388772C7-3F3D-3D03-010B-B8AE151F3318}"/>
              </a:ext>
            </a:extLst>
          </p:cNvPr>
          <p:cNvPicPr>
            <a:picLocks noChangeAspect="1"/>
          </p:cNvPicPr>
          <p:nvPr/>
        </p:nvPicPr>
        <p:blipFill>
          <a:blip r:embed="rId7"/>
          <a:srcRect t="4918"/>
          <a:stretch>
            <a:fillRect/>
          </a:stretch>
        </p:blipFill>
        <p:spPr>
          <a:xfrm>
            <a:off x="1219200" y="1340545"/>
            <a:ext cx="9125564" cy="4892457"/>
          </a:xfrm>
          <a:prstGeom prst="roundRect">
            <a:avLst>
              <a:gd name="adj" fmla="val 13222"/>
            </a:avLst>
          </a:prstGeom>
        </p:spPr>
      </p:pic>
    </p:spTree>
    <p:extLst>
      <p:ext uri="{BB962C8B-B14F-4D97-AF65-F5344CB8AC3E}">
        <p14:creationId xmlns:p14="http://schemas.microsoft.com/office/powerpoint/2010/main" val="1211815288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FEFC7224-3E04-FBEB-253C-1B9F3E4E7D3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m 2" descr="Interface gráfica do usuário&#10;&#10;O conteúdo gerado por IA pode estar incorreto.">
            <a:extLst>
              <a:ext uri="{FF2B5EF4-FFF2-40B4-BE49-F238E27FC236}">
                <a16:creationId xmlns:a16="http://schemas.microsoft.com/office/drawing/2014/main" id="{26DEC87B-D05B-0E64-5CFF-7CAE970B6B8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6447" y="248306"/>
            <a:ext cx="1371600" cy="561358"/>
          </a:xfrm>
          <a:prstGeom prst="rect">
            <a:avLst/>
          </a:prstGeom>
        </p:spPr>
      </p:pic>
      <p:pic>
        <p:nvPicPr>
          <p:cNvPr id="1026" name="Picture 2" descr="logo claro PNG &amp; clipart images | Citypng">
            <a:extLst>
              <a:ext uri="{FF2B5EF4-FFF2-40B4-BE49-F238E27FC236}">
                <a16:creationId xmlns:a16="http://schemas.microsoft.com/office/drawing/2014/main" id="{8A316EAC-5E22-4D19-D70A-1EE61CDD5E1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ackgroundRemoval t="8875" b="90500" l="9625" r="90375">
                        <a14:foregroundMark x1="35125" y1="42750" x2="35125" y2="42750"/>
                        <a14:foregroundMark x1="35250" y1="45125" x2="33750" y2="54125"/>
                        <a14:foregroundMark x1="33750" y1="54125" x2="41375" y2="48750"/>
                        <a14:foregroundMark x1="41375" y1="48750" x2="36875" y2="40375"/>
                        <a14:foregroundMark x1="36875" y1="40375" x2="31375" y2="43625"/>
                        <a14:foregroundMark x1="22000" y1="41875" x2="12375" y2="50500"/>
                        <a14:foregroundMark x1="12375" y1="50500" x2="25625" y2="62375"/>
                        <a14:foregroundMark x1="25625" y1="62375" x2="52750" y2="64125"/>
                        <a14:foregroundMark x1="52750" y1="64125" x2="73500" y2="62500"/>
                        <a14:foregroundMark x1="73500" y1="62500" x2="87375" y2="56375"/>
                        <a14:foregroundMark x1="87375" y1="56375" x2="87125" y2="45625"/>
                        <a14:foregroundMark x1="87125" y1="45625" x2="84625" y2="37625"/>
                        <a14:foregroundMark x1="84625" y1="37625" x2="76500" y2="32125"/>
                        <a14:foregroundMark x1="76500" y1="32125" x2="57500" y2="27250"/>
                        <a14:foregroundMark x1="57500" y1="27250" x2="20250" y2="28750"/>
                        <a14:foregroundMark x1="20250" y1="28750" x2="15750" y2="38375"/>
                        <a14:foregroundMark x1="15750" y1="38375" x2="12250" y2="41125"/>
                        <a14:foregroundMark x1="28375" y1="36125" x2="17625" y2="48125"/>
                        <a14:foregroundMark x1="17625" y1="48125" x2="23875" y2="57625"/>
                        <a14:foregroundMark x1="23875" y1="57625" x2="34500" y2="44000"/>
                        <a14:foregroundMark x1="34500" y1="44000" x2="21250" y2="39375"/>
                        <a14:foregroundMark x1="21250" y1="39375" x2="19250" y2="41250"/>
                        <a14:foregroundMark x1="26250" y1="40250" x2="27375" y2="52750"/>
                        <a14:foregroundMark x1="27375" y1="52750" x2="28875" y2="40125"/>
                        <a14:foregroundMark x1="28875" y1="40125" x2="18750" y2="45500"/>
                        <a14:foregroundMark x1="18750" y1="45500" x2="20750" y2="48625"/>
                        <a14:foregroundMark x1="26875" y1="40625" x2="27375" y2="58250"/>
                        <a14:foregroundMark x1="27375" y1="58250" x2="30625" y2="48375"/>
                        <a14:foregroundMark x1="30625" y1="48375" x2="20375" y2="51125"/>
                        <a14:foregroundMark x1="20375" y1="51125" x2="20375" y2="52375"/>
                        <a14:foregroundMark x1="19125" y1="42500" x2="25500" y2="55125"/>
                        <a14:foregroundMark x1="25500" y1="55125" x2="25125" y2="59500"/>
                        <a14:foregroundMark x1="22250" y1="56750" x2="21750" y2="58125"/>
                        <a14:foregroundMark x1="38500" y1="39875" x2="29750" y2="53250"/>
                        <a14:foregroundMark x1="29750" y1="53250" x2="34875" y2="62125"/>
                        <a14:foregroundMark x1="34875" y1="62125" x2="39750" y2="49375"/>
                        <a14:foregroundMark x1="39750" y1="49375" x2="36125" y2="43000"/>
                        <a14:foregroundMark x1="43375" y1="42375" x2="41000" y2="60750"/>
                        <a14:foregroundMark x1="41000" y1="60750" x2="51625" y2="47750"/>
                        <a14:foregroundMark x1="51625" y1="47750" x2="43375" y2="46875"/>
                        <a14:foregroundMark x1="43375" y1="46875" x2="41375" y2="48000"/>
                        <a14:foregroundMark x1="47125" y1="50750" x2="48375" y2="59000"/>
                        <a14:foregroundMark x1="48375" y1="59000" x2="45125" y2="53500"/>
                        <a14:foregroundMark x1="53625" y1="43250" x2="52125" y2="50125"/>
                        <a14:foregroundMark x1="52125" y1="50125" x2="54125" y2="58375"/>
                        <a14:foregroundMark x1="54125" y1="58375" x2="58125" y2="50500"/>
                        <a14:foregroundMark x1="58125" y1="50500" x2="53250" y2="45125"/>
                        <a14:foregroundMark x1="53250" y1="45125" x2="51500" y2="45375"/>
                        <a14:foregroundMark x1="58625" y1="42000" x2="59750" y2="52125"/>
                        <a14:foregroundMark x1="59750" y1="52125" x2="57750" y2="45000"/>
                        <a14:foregroundMark x1="63000" y1="45375" x2="61000" y2="62375"/>
                        <a14:foregroundMark x1="61000" y1="62375" x2="73375" y2="56375"/>
                        <a14:foregroundMark x1="73375" y1="56375" x2="72000" y2="45625"/>
                        <a14:foregroundMark x1="72000" y1="45625" x2="64375" y2="43500"/>
                        <a14:foregroundMark x1="64375" y1="43500" x2="61750" y2="33375"/>
                        <a14:foregroundMark x1="61750" y1="33375" x2="72625" y2="31250"/>
                        <a14:foregroundMark x1="72625" y1="31250" x2="67750" y2="44000"/>
                        <a14:foregroundMark x1="67750" y1="44000" x2="73125" y2="38125"/>
                        <a14:foregroundMark x1="73125" y1="38125" x2="81750" y2="37125"/>
                        <a14:foregroundMark x1="81750" y1="37125" x2="77625" y2="50250"/>
                        <a14:foregroundMark x1="77625" y1="50250" x2="81750" y2="52375"/>
                        <a14:foregroundMark x1="68875" y1="31750" x2="67125" y2="43250"/>
                        <a14:foregroundMark x1="67125" y1="43250" x2="69125" y2="34625"/>
                        <a14:foregroundMark x1="78750" y1="32500" x2="75250" y2="44500"/>
                        <a14:foregroundMark x1="75250" y1="44500" x2="79875" y2="36750"/>
                        <a14:foregroundMark x1="79875" y1="36750" x2="76875" y2="36375"/>
                        <a14:foregroundMark x1="78750" y1="46625" x2="80125" y2="55500"/>
                        <a14:foregroundMark x1="80125" y1="55500" x2="80750" y2="46125"/>
                        <a14:foregroundMark x1="80750" y1="46125" x2="77750" y2="45875"/>
                        <a14:foregroundMark x1="90375" y1="44000" x2="88750" y2="56375"/>
                        <a14:foregroundMark x1="45750" y1="10250" x2="57875" y2="11500"/>
                        <a14:foregroundMark x1="54125" y1="8875" x2="53500" y2="9125"/>
                        <a14:foregroundMark x1="49500" y1="90500" x2="54125" y2="89500"/>
                        <a14:foregroundMark x1="9625" y1="49625" x2="11000" y2="47125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3256" t="7288" r="7881" b="3666"/>
          <a:stretch>
            <a:fillRect/>
          </a:stretch>
        </p:blipFill>
        <p:spPr bwMode="auto">
          <a:xfrm>
            <a:off x="11238614" y="5890437"/>
            <a:ext cx="733648" cy="7351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2" name="Agrupar 1">
            <a:extLst>
              <a:ext uri="{FF2B5EF4-FFF2-40B4-BE49-F238E27FC236}">
                <a16:creationId xmlns:a16="http://schemas.microsoft.com/office/drawing/2014/main" id="{544A0989-5C6E-D84B-EE5C-F5AADCE03AAF}"/>
              </a:ext>
            </a:extLst>
          </p:cNvPr>
          <p:cNvGrpSpPr/>
          <p:nvPr/>
        </p:nvGrpSpPr>
        <p:grpSpPr>
          <a:xfrm>
            <a:off x="8280400" y="442080"/>
            <a:ext cx="3467100" cy="735167"/>
            <a:chOff x="-10954339" y="1136650"/>
            <a:chExt cx="22701839" cy="4584700"/>
          </a:xfrm>
        </p:grpSpPr>
        <p:sp>
          <p:nvSpPr>
            <p:cNvPr id="6" name="CaixaDeTexto 5">
              <a:extLst>
                <a:ext uri="{FF2B5EF4-FFF2-40B4-BE49-F238E27FC236}">
                  <a16:creationId xmlns:a16="http://schemas.microsoft.com/office/drawing/2014/main" id="{083AC08D-EACF-B11F-D00C-D82A2E732E67}"/>
                </a:ext>
              </a:extLst>
            </p:cNvPr>
            <p:cNvSpPr txBox="1"/>
            <p:nvPr/>
          </p:nvSpPr>
          <p:spPr>
            <a:xfrm>
              <a:off x="-10954339" y="2277376"/>
              <a:ext cx="16605841" cy="249519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pt-BR" sz="2000" b="1" i="0" u="none" strike="noStrike" baseline="0" dirty="0">
                  <a:solidFill>
                    <a:schemeClr val="bg2"/>
                  </a:solidFill>
                  <a:latin typeface="Candara" panose="020E0502030303020204" pitchFamily="34" charset="0"/>
                </a:rPr>
                <a:t>Projetor Epson EF-21</a:t>
              </a:r>
              <a:endParaRPr lang="pt-BR" sz="2000" b="1" dirty="0">
                <a:solidFill>
                  <a:schemeClr val="bg2"/>
                </a:solidFill>
                <a:latin typeface="Candara" panose="020E0502030303020204" pitchFamily="34" charset="0"/>
              </a:endParaRPr>
            </a:p>
          </p:txBody>
        </p:sp>
        <p:pic>
          <p:nvPicPr>
            <p:cNvPr id="2054" name="Picture 6" descr="Projetor Epson EpiqVision® Laser Smart EF21 com Conexão USB e HDMI Branco  Diamante - V11HB35020 | Fastshop">
              <a:extLst>
                <a:ext uri="{FF2B5EF4-FFF2-40B4-BE49-F238E27FC236}">
                  <a16:creationId xmlns:a16="http://schemas.microsoft.com/office/drawing/2014/main" id="{A2C92CE2-D2AC-1DA3-4119-415C916A9CFA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828" t="15363" r="6283" b="17787"/>
            <a:stretch>
              <a:fillRect/>
            </a:stretch>
          </p:blipFill>
          <p:spPr bwMode="auto">
            <a:xfrm>
              <a:off x="5651500" y="1136650"/>
              <a:ext cx="6096000" cy="4584700"/>
            </a:xfrm>
            <a:prstGeom prst="round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8" name="Imagem 7" descr="Uma imagem contendo mesa, loção&#10;&#10;O conteúdo gerado por IA pode estar incorreto.">
            <a:extLst>
              <a:ext uri="{FF2B5EF4-FFF2-40B4-BE49-F238E27FC236}">
                <a16:creationId xmlns:a16="http://schemas.microsoft.com/office/drawing/2014/main" id="{F9457BB1-5E56-E374-C248-675BE9CEE30D}"/>
              </a:ext>
            </a:extLst>
          </p:cNvPr>
          <p:cNvPicPr>
            <a:picLocks noChangeAspect="1"/>
          </p:cNvPicPr>
          <p:nvPr/>
        </p:nvPicPr>
        <p:blipFill>
          <a:blip r:embed="rId7"/>
          <a:srcRect t="15891"/>
          <a:stretch>
            <a:fillRect/>
          </a:stretch>
        </p:blipFill>
        <p:spPr>
          <a:xfrm>
            <a:off x="713327" y="1586141"/>
            <a:ext cx="10301886" cy="4304296"/>
          </a:xfrm>
          <a:prstGeom prst="roundRect">
            <a:avLst/>
          </a:prstGeom>
        </p:spPr>
      </p:pic>
    </p:spTree>
    <p:extLst>
      <p:ext uri="{BB962C8B-B14F-4D97-AF65-F5344CB8AC3E}">
        <p14:creationId xmlns:p14="http://schemas.microsoft.com/office/powerpoint/2010/main" val="3876690689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ECCFA41A-589A-1BDC-9A6D-FD64842D2D5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m 2" descr="Interface gráfica do usuário&#10;&#10;O conteúdo gerado por IA pode estar incorreto.">
            <a:extLst>
              <a:ext uri="{FF2B5EF4-FFF2-40B4-BE49-F238E27FC236}">
                <a16:creationId xmlns:a16="http://schemas.microsoft.com/office/drawing/2014/main" id="{4424796C-EBA8-09E8-18EC-0C92177FB5E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6447" y="248306"/>
            <a:ext cx="1371600" cy="561358"/>
          </a:xfrm>
          <a:prstGeom prst="rect">
            <a:avLst/>
          </a:prstGeom>
        </p:spPr>
      </p:pic>
      <p:pic>
        <p:nvPicPr>
          <p:cNvPr id="1026" name="Picture 2" descr="logo claro PNG &amp; clipart images | Citypng">
            <a:extLst>
              <a:ext uri="{FF2B5EF4-FFF2-40B4-BE49-F238E27FC236}">
                <a16:creationId xmlns:a16="http://schemas.microsoft.com/office/drawing/2014/main" id="{9E063623-2CAB-C1F9-2105-AC7432106434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ackgroundRemoval t="8875" b="90500" l="9625" r="90375">
                        <a14:foregroundMark x1="35125" y1="42750" x2="35125" y2="42750"/>
                        <a14:foregroundMark x1="35250" y1="45125" x2="33750" y2="54125"/>
                        <a14:foregroundMark x1="33750" y1="54125" x2="41375" y2="48750"/>
                        <a14:foregroundMark x1="41375" y1="48750" x2="36875" y2="40375"/>
                        <a14:foregroundMark x1="36875" y1="40375" x2="31375" y2="43625"/>
                        <a14:foregroundMark x1="22000" y1="41875" x2="12375" y2="50500"/>
                        <a14:foregroundMark x1="12375" y1="50500" x2="25625" y2="62375"/>
                        <a14:foregroundMark x1="25625" y1="62375" x2="52750" y2="64125"/>
                        <a14:foregroundMark x1="52750" y1="64125" x2="73500" y2="62500"/>
                        <a14:foregroundMark x1="73500" y1="62500" x2="87375" y2="56375"/>
                        <a14:foregroundMark x1="87375" y1="56375" x2="87125" y2="45625"/>
                        <a14:foregroundMark x1="87125" y1="45625" x2="84625" y2="37625"/>
                        <a14:foregroundMark x1="84625" y1="37625" x2="76500" y2="32125"/>
                        <a14:foregroundMark x1="76500" y1="32125" x2="57500" y2="27250"/>
                        <a14:foregroundMark x1="57500" y1="27250" x2="20250" y2="28750"/>
                        <a14:foregroundMark x1="20250" y1="28750" x2="15750" y2="38375"/>
                        <a14:foregroundMark x1="15750" y1="38375" x2="12250" y2="41125"/>
                        <a14:foregroundMark x1="28375" y1="36125" x2="17625" y2="48125"/>
                        <a14:foregroundMark x1="17625" y1="48125" x2="23875" y2="57625"/>
                        <a14:foregroundMark x1="23875" y1="57625" x2="34500" y2="44000"/>
                        <a14:foregroundMark x1="34500" y1="44000" x2="21250" y2="39375"/>
                        <a14:foregroundMark x1="21250" y1="39375" x2="19250" y2="41250"/>
                        <a14:foregroundMark x1="26250" y1="40250" x2="27375" y2="52750"/>
                        <a14:foregroundMark x1="27375" y1="52750" x2="28875" y2="40125"/>
                        <a14:foregroundMark x1="28875" y1="40125" x2="18750" y2="45500"/>
                        <a14:foregroundMark x1="18750" y1="45500" x2="20750" y2="48625"/>
                        <a14:foregroundMark x1="26875" y1="40625" x2="27375" y2="58250"/>
                        <a14:foregroundMark x1="27375" y1="58250" x2="30625" y2="48375"/>
                        <a14:foregroundMark x1="30625" y1="48375" x2="20375" y2="51125"/>
                        <a14:foregroundMark x1="20375" y1="51125" x2="20375" y2="52375"/>
                        <a14:foregroundMark x1="19125" y1="42500" x2="25500" y2="55125"/>
                        <a14:foregroundMark x1="25500" y1="55125" x2="25125" y2="59500"/>
                        <a14:foregroundMark x1="22250" y1="56750" x2="21750" y2="58125"/>
                        <a14:foregroundMark x1="38500" y1="39875" x2="29750" y2="53250"/>
                        <a14:foregroundMark x1="29750" y1="53250" x2="34875" y2="62125"/>
                        <a14:foregroundMark x1="34875" y1="62125" x2="39750" y2="49375"/>
                        <a14:foregroundMark x1="39750" y1="49375" x2="36125" y2="43000"/>
                        <a14:foregroundMark x1="43375" y1="42375" x2="41000" y2="60750"/>
                        <a14:foregroundMark x1="41000" y1="60750" x2="51625" y2="47750"/>
                        <a14:foregroundMark x1="51625" y1="47750" x2="43375" y2="46875"/>
                        <a14:foregroundMark x1="43375" y1="46875" x2="41375" y2="48000"/>
                        <a14:foregroundMark x1="47125" y1="50750" x2="48375" y2="59000"/>
                        <a14:foregroundMark x1="48375" y1="59000" x2="45125" y2="53500"/>
                        <a14:foregroundMark x1="53625" y1="43250" x2="52125" y2="50125"/>
                        <a14:foregroundMark x1="52125" y1="50125" x2="54125" y2="58375"/>
                        <a14:foregroundMark x1="54125" y1="58375" x2="58125" y2="50500"/>
                        <a14:foregroundMark x1="58125" y1="50500" x2="53250" y2="45125"/>
                        <a14:foregroundMark x1="53250" y1="45125" x2="51500" y2="45375"/>
                        <a14:foregroundMark x1="58625" y1="42000" x2="59750" y2="52125"/>
                        <a14:foregroundMark x1="59750" y1="52125" x2="57750" y2="45000"/>
                        <a14:foregroundMark x1="63000" y1="45375" x2="61000" y2="62375"/>
                        <a14:foregroundMark x1="61000" y1="62375" x2="73375" y2="56375"/>
                        <a14:foregroundMark x1="73375" y1="56375" x2="72000" y2="45625"/>
                        <a14:foregroundMark x1="72000" y1="45625" x2="64375" y2="43500"/>
                        <a14:foregroundMark x1="64375" y1="43500" x2="61750" y2="33375"/>
                        <a14:foregroundMark x1="61750" y1="33375" x2="72625" y2="31250"/>
                        <a14:foregroundMark x1="72625" y1="31250" x2="67750" y2="44000"/>
                        <a14:foregroundMark x1="67750" y1="44000" x2="73125" y2="38125"/>
                        <a14:foregroundMark x1="73125" y1="38125" x2="81750" y2="37125"/>
                        <a14:foregroundMark x1="81750" y1="37125" x2="77625" y2="50250"/>
                        <a14:foregroundMark x1="77625" y1="50250" x2="81750" y2="52375"/>
                        <a14:foregroundMark x1="68875" y1="31750" x2="67125" y2="43250"/>
                        <a14:foregroundMark x1="67125" y1="43250" x2="69125" y2="34625"/>
                        <a14:foregroundMark x1="78750" y1="32500" x2="75250" y2="44500"/>
                        <a14:foregroundMark x1="75250" y1="44500" x2="79875" y2="36750"/>
                        <a14:foregroundMark x1="79875" y1="36750" x2="76875" y2="36375"/>
                        <a14:foregroundMark x1="78750" y1="46625" x2="80125" y2="55500"/>
                        <a14:foregroundMark x1="80125" y1="55500" x2="80750" y2="46125"/>
                        <a14:foregroundMark x1="80750" y1="46125" x2="77750" y2="45875"/>
                        <a14:foregroundMark x1="90375" y1="44000" x2="88750" y2="56375"/>
                        <a14:foregroundMark x1="45750" y1="10250" x2="57875" y2="11500"/>
                        <a14:foregroundMark x1="54125" y1="8875" x2="53500" y2="9125"/>
                        <a14:foregroundMark x1="49500" y1="90500" x2="54125" y2="89500"/>
                        <a14:foregroundMark x1="9625" y1="49625" x2="11000" y2="47125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3256" t="7288" r="7881" b="3666"/>
          <a:stretch>
            <a:fillRect/>
          </a:stretch>
        </p:blipFill>
        <p:spPr bwMode="auto">
          <a:xfrm>
            <a:off x="11238614" y="5890437"/>
            <a:ext cx="733648" cy="7351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Imagem 3" descr="Tela de um aparelho celular&#10;&#10;O conteúdo gerado por IA pode estar incorreto.">
            <a:extLst>
              <a:ext uri="{FF2B5EF4-FFF2-40B4-BE49-F238E27FC236}">
                <a16:creationId xmlns:a16="http://schemas.microsoft.com/office/drawing/2014/main" id="{E049BE41-FA39-61CB-DAF3-9EFC9241A65E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726355" y="1186357"/>
            <a:ext cx="8350030" cy="4704080"/>
          </a:xfrm>
          <a:prstGeom prst="roundRect">
            <a:avLst>
              <a:gd name="adj" fmla="val 13273"/>
            </a:avLst>
          </a:prstGeom>
        </p:spPr>
      </p:pic>
    </p:spTree>
    <p:extLst>
      <p:ext uri="{BB962C8B-B14F-4D97-AF65-F5344CB8AC3E}">
        <p14:creationId xmlns:p14="http://schemas.microsoft.com/office/powerpoint/2010/main" val="686628184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19E51D4A-51CC-C074-8AA2-9C14E1DFEAB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m 2" descr="Interface gráfica do usuário&#10;&#10;O conteúdo gerado por IA pode estar incorreto.">
            <a:extLst>
              <a:ext uri="{FF2B5EF4-FFF2-40B4-BE49-F238E27FC236}">
                <a16:creationId xmlns:a16="http://schemas.microsoft.com/office/drawing/2014/main" id="{F588B39E-F217-FAD6-A478-CC538FC8913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6447" y="248306"/>
            <a:ext cx="1371600" cy="561358"/>
          </a:xfrm>
          <a:prstGeom prst="rect">
            <a:avLst/>
          </a:prstGeom>
        </p:spPr>
      </p:pic>
      <p:pic>
        <p:nvPicPr>
          <p:cNvPr id="1026" name="Picture 2" descr="logo claro PNG &amp; clipart images | Citypng">
            <a:extLst>
              <a:ext uri="{FF2B5EF4-FFF2-40B4-BE49-F238E27FC236}">
                <a16:creationId xmlns:a16="http://schemas.microsoft.com/office/drawing/2014/main" id="{77A2C8C9-660D-E792-D072-A593E37E453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ackgroundRemoval t="8875" b="90500" l="9625" r="90375">
                        <a14:foregroundMark x1="35125" y1="42750" x2="35125" y2="42750"/>
                        <a14:foregroundMark x1="35250" y1="45125" x2="33750" y2="54125"/>
                        <a14:foregroundMark x1="33750" y1="54125" x2="41375" y2="48750"/>
                        <a14:foregroundMark x1="41375" y1="48750" x2="36875" y2="40375"/>
                        <a14:foregroundMark x1="36875" y1="40375" x2="31375" y2="43625"/>
                        <a14:foregroundMark x1="22000" y1="41875" x2="12375" y2="50500"/>
                        <a14:foregroundMark x1="12375" y1="50500" x2="25625" y2="62375"/>
                        <a14:foregroundMark x1="25625" y1="62375" x2="52750" y2="64125"/>
                        <a14:foregroundMark x1="52750" y1="64125" x2="73500" y2="62500"/>
                        <a14:foregroundMark x1="73500" y1="62500" x2="87375" y2="56375"/>
                        <a14:foregroundMark x1="87375" y1="56375" x2="87125" y2="45625"/>
                        <a14:foregroundMark x1="87125" y1="45625" x2="84625" y2="37625"/>
                        <a14:foregroundMark x1="84625" y1="37625" x2="76500" y2="32125"/>
                        <a14:foregroundMark x1="76500" y1="32125" x2="57500" y2="27250"/>
                        <a14:foregroundMark x1="57500" y1="27250" x2="20250" y2="28750"/>
                        <a14:foregroundMark x1="20250" y1="28750" x2="15750" y2="38375"/>
                        <a14:foregroundMark x1="15750" y1="38375" x2="12250" y2="41125"/>
                        <a14:foregroundMark x1="28375" y1="36125" x2="17625" y2="48125"/>
                        <a14:foregroundMark x1="17625" y1="48125" x2="23875" y2="57625"/>
                        <a14:foregroundMark x1="23875" y1="57625" x2="34500" y2="44000"/>
                        <a14:foregroundMark x1="34500" y1="44000" x2="21250" y2="39375"/>
                        <a14:foregroundMark x1="21250" y1="39375" x2="19250" y2="41250"/>
                        <a14:foregroundMark x1="26250" y1="40250" x2="27375" y2="52750"/>
                        <a14:foregroundMark x1="27375" y1="52750" x2="28875" y2="40125"/>
                        <a14:foregroundMark x1="28875" y1="40125" x2="18750" y2="45500"/>
                        <a14:foregroundMark x1="18750" y1="45500" x2="20750" y2="48625"/>
                        <a14:foregroundMark x1="26875" y1="40625" x2="27375" y2="58250"/>
                        <a14:foregroundMark x1="27375" y1="58250" x2="30625" y2="48375"/>
                        <a14:foregroundMark x1="30625" y1="48375" x2="20375" y2="51125"/>
                        <a14:foregroundMark x1="20375" y1="51125" x2="20375" y2="52375"/>
                        <a14:foregroundMark x1="19125" y1="42500" x2="25500" y2="55125"/>
                        <a14:foregroundMark x1="25500" y1="55125" x2="25125" y2="59500"/>
                        <a14:foregroundMark x1="22250" y1="56750" x2="21750" y2="58125"/>
                        <a14:foregroundMark x1="38500" y1="39875" x2="29750" y2="53250"/>
                        <a14:foregroundMark x1="29750" y1="53250" x2="34875" y2="62125"/>
                        <a14:foregroundMark x1="34875" y1="62125" x2="39750" y2="49375"/>
                        <a14:foregroundMark x1="39750" y1="49375" x2="36125" y2="43000"/>
                        <a14:foregroundMark x1="43375" y1="42375" x2="41000" y2="60750"/>
                        <a14:foregroundMark x1="41000" y1="60750" x2="51625" y2="47750"/>
                        <a14:foregroundMark x1="51625" y1="47750" x2="43375" y2="46875"/>
                        <a14:foregroundMark x1="43375" y1="46875" x2="41375" y2="48000"/>
                        <a14:foregroundMark x1="47125" y1="50750" x2="48375" y2="59000"/>
                        <a14:foregroundMark x1="48375" y1="59000" x2="45125" y2="53500"/>
                        <a14:foregroundMark x1="53625" y1="43250" x2="52125" y2="50125"/>
                        <a14:foregroundMark x1="52125" y1="50125" x2="54125" y2="58375"/>
                        <a14:foregroundMark x1="54125" y1="58375" x2="58125" y2="50500"/>
                        <a14:foregroundMark x1="58125" y1="50500" x2="53250" y2="45125"/>
                        <a14:foregroundMark x1="53250" y1="45125" x2="51500" y2="45375"/>
                        <a14:foregroundMark x1="58625" y1="42000" x2="59750" y2="52125"/>
                        <a14:foregroundMark x1="59750" y1="52125" x2="57750" y2="45000"/>
                        <a14:foregroundMark x1="63000" y1="45375" x2="61000" y2="62375"/>
                        <a14:foregroundMark x1="61000" y1="62375" x2="73375" y2="56375"/>
                        <a14:foregroundMark x1="73375" y1="56375" x2="72000" y2="45625"/>
                        <a14:foregroundMark x1="72000" y1="45625" x2="64375" y2="43500"/>
                        <a14:foregroundMark x1="64375" y1="43500" x2="61750" y2="33375"/>
                        <a14:foregroundMark x1="61750" y1="33375" x2="72625" y2="31250"/>
                        <a14:foregroundMark x1="72625" y1="31250" x2="67750" y2="44000"/>
                        <a14:foregroundMark x1="67750" y1="44000" x2="73125" y2="38125"/>
                        <a14:foregroundMark x1="73125" y1="38125" x2="81750" y2="37125"/>
                        <a14:foregroundMark x1="81750" y1="37125" x2="77625" y2="50250"/>
                        <a14:foregroundMark x1="77625" y1="50250" x2="81750" y2="52375"/>
                        <a14:foregroundMark x1="68875" y1="31750" x2="67125" y2="43250"/>
                        <a14:foregroundMark x1="67125" y1="43250" x2="69125" y2="34625"/>
                        <a14:foregroundMark x1="78750" y1="32500" x2="75250" y2="44500"/>
                        <a14:foregroundMark x1="75250" y1="44500" x2="79875" y2="36750"/>
                        <a14:foregroundMark x1="79875" y1="36750" x2="76875" y2="36375"/>
                        <a14:foregroundMark x1="78750" y1="46625" x2="80125" y2="55500"/>
                        <a14:foregroundMark x1="80125" y1="55500" x2="80750" y2="46125"/>
                        <a14:foregroundMark x1="80750" y1="46125" x2="77750" y2="45875"/>
                        <a14:foregroundMark x1="90375" y1="44000" x2="88750" y2="56375"/>
                        <a14:foregroundMark x1="45750" y1="10250" x2="57875" y2="11500"/>
                        <a14:foregroundMark x1="54125" y1="8875" x2="53500" y2="9125"/>
                        <a14:foregroundMark x1="49500" y1="90500" x2="54125" y2="89500"/>
                        <a14:foregroundMark x1="9625" y1="49625" x2="11000" y2="47125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3256" t="7288" r="7881" b="3666"/>
          <a:stretch>
            <a:fillRect/>
          </a:stretch>
        </p:blipFill>
        <p:spPr bwMode="auto">
          <a:xfrm>
            <a:off x="11238614" y="5890437"/>
            <a:ext cx="733648" cy="7351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Imagem 4" descr="Tela de um aparelho celular&#10;&#10;O conteúdo gerado por IA pode estar incorreto.">
            <a:extLst>
              <a:ext uri="{FF2B5EF4-FFF2-40B4-BE49-F238E27FC236}">
                <a16:creationId xmlns:a16="http://schemas.microsoft.com/office/drawing/2014/main" id="{8714E9F8-206A-6200-9A6D-59478FDCDCC9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ackgroundRemoval t="5381" b="92377" l="9091" r="89773">
                        <a14:foregroundMark x1="42614" y1="5605" x2="50568" y2="7623"/>
                        <a14:foregroundMark x1="39773" y1="90359" x2="50568" y2="92377"/>
                      </a14:backgroundRemoval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0322174" y="177308"/>
            <a:ext cx="643184" cy="1629888"/>
          </a:xfrm>
          <a:prstGeom prst="roundRect">
            <a:avLst>
              <a:gd name="adj" fmla="val 11213"/>
            </a:avLst>
          </a:prstGeom>
          <a:effectLst>
            <a:glow rad="139700">
              <a:schemeClr val="bg1">
                <a:lumMod val="95000"/>
                <a:alpha val="40000"/>
              </a:schemeClr>
            </a:glow>
          </a:effectLst>
        </p:spPr>
      </p:pic>
      <p:sp>
        <p:nvSpPr>
          <p:cNvPr id="9" name="CaixaDeTexto 8">
            <a:extLst>
              <a:ext uri="{FF2B5EF4-FFF2-40B4-BE49-F238E27FC236}">
                <a16:creationId xmlns:a16="http://schemas.microsoft.com/office/drawing/2014/main" id="{51B5F3D0-1C8F-2FA1-EEF1-2EE33BD460D1}"/>
              </a:ext>
            </a:extLst>
          </p:cNvPr>
          <p:cNvSpPr txBox="1"/>
          <p:nvPr/>
        </p:nvSpPr>
        <p:spPr>
          <a:xfrm>
            <a:off x="7941206" y="670292"/>
            <a:ext cx="270256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sz="1800" b="1" i="0" u="none" strike="noStrike" baseline="0" dirty="0">
                <a:solidFill>
                  <a:schemeClr val="bg1"/>
                </a:solidFill>
                <a:latin typeface="Candara" panose="020E0502030303020204" pitchFamily="34" charset="0"/>
              </a:rPr>
              <a:t>Fechadura Eletrônica </a:t>
            </a:r>
            <a:endParaRPr lang="pt-BR" dirty="0">
              <a:solidFill>
                <a:schemeClr val="bg1"/>
              </a:solidFill>
              <a:latin typeface="Candara" panose="020E0502030303020204" pitchFamily="34" charset="0"/>
            </a:endParaRPr>
          </a:p>
        </p:txBody>
      </p:sp>
      <p:pic>
        <p:nvPicPr>
          <p:cNvPr id="11" name="Imagem 10" descr="Controle remoto preto sobre fundo branco&#10;&#10;O conteúdo gerado por IA pode estar incorreto.">
            <a:extLst>
              <a:ext uri="{FF2B5EF4-FFF2-40B4-BE49-F238E27FC236}">
                <a16:creationId xmlns:a16="http://schemas.microsoft.com/office/drawing/2014/main" id="{554CB37D-9AB9-00AE-E5C9-F7FF6A91C3B9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ackgroundRemoval t="4144" b="97652" l="9071" r="95248">
                        <a14:foregroundMark x1="23110" y1="65746" x2="18575" y2="92541"/>
                        <a14:foregroundMark x1="22462" y1="97928" x2="25054" y2="97928"/>
                        <a14:foregroundMark x1="26998" y1="7873" x2="19870" y2="7044"/>
                        <a14:foregroundMark x1="95464" y1="50000" x2="88985" y2="52486"/>
                        <a14:foregroundMark x1="29590" y1="4144" x2="23758" y2="5801"/>
                      </a14:backgroundRemoval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1105142" y="212076"/>
            <a:ext cx="1000591" cy="1564640"/>
          </a:xfrm>
          <a:prstGeom prst="rect">
            <a:avLst/>
          </a:prstGeom>
          <a:effectLst>
            <a:glow rad="63500">
              <a:schemeClr val="bg1">
                <a:lumMod val="95000"/>
                <a:alpha val="40000"/>
              </a:schemeClr>
            </a:glow>
          </a:effectLst>
        </p:spPr>
      </p:pic>
      <p:sp>
        <p:nvSpPr>
          <p:cNvPr id="4" name="CaixaDeTexto 3">
            <a:extLst>
              <a:ext uri="{FF2B5EF4-FFF2-40B4-BE49-F238E27FC236}">
                <a16:creationId xmlns:a16="http://schemas.microsoft.com/office/drawing/2014/main" id="{ECFFBB39-11BE-CA02-2F01-AE94CCC6BA8C}"/>
              </a:ext>
            </a:extLst>
          </p:cNvPr>
          <p:cNvSpPr txBox="1"/>
          <p:nvPr/>
        </p:nvSpPr>
        <p:spPr>
          <a:xfrm>
            <a:off x="416560" y="2090172"/>
            <a:ext cx="3779520" cy="267765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sz="2400" b="1" i="0" u="none" strike="noStrike" baseline="0" dirty="0">
                <a:solidFill>
                  <a:schemeClr val="bg1"/>
                </a:solidFill>
                <a:latin typeface="Intro SemiBold"/>
              </a:rPr>
              <a:t>DIFERENCIAIS DO PRODUTO: </a:t>
            </a:r>
            <a:endParaRPr lang="pt-BR" sz="2400" b="0" i="0" u="none" strike="noStrike" baseline="0" dirty="0">
              <a:solidFill>
                <a:schemeClr val="bg1"/>
              </a:solidFill>
              <a:latin typeface="Intro SemiBold"/>
            </a:endParaRPr>
          </a:p>
          <a:p>
            <a:r>
              <a:rPr lang="pt-BR" sz="2400" b="0" i="0" u="none" strike="noStrike" baseline="0" dirty="0">
                <a:solidFill>
                  <a:schemeClr val="bg1"/>
                </a:solidFill>
                <a:latin typeface="Intro Regular"/>
              </a:rPr>
              <a:t>Conexão Wi-Fi </a:t>
            </a:r>
          </a:p>
          <a:p>
            <a:r>
              <a:rPr lang="pt-BR" sz="2400" b="0" i="0" u="none" strike="noStrike" baseline="0" dirty="0">
                <a:solidFill>
                  <a:schemeClr val="bg1"/>
                </a:solidFill>
                <a:latin typeface="Intro Regular"/>
              </a:rPr>
              <a:t>Leitor biométrico </a:t>
            </a:r>
          </a:p>
          <a:p>
            <a:r>
              <a:rPr lang="pt-BR" sz="2400" b="0" i="0" u="none" strike="noStrike" baseline="0" dirty="0">
                <a:solidFill>
                  <a:schemeClr val="bg1"/>
                </a:solidFill>
                <a:latin typeface="Intro Regular"/>
              </a:rPr>
              <a:t>Possibilidade de automação com a linha ELSYS Casa+ </a:t>
            </a:r>
          </a:p>
          <a:p>
            <a:r>
              <a:rPr lang="pt-BR" sz="2400" b="0" i="0" u="none" strike="noStrike" baseline="0" dirty="0">
                <a:solidFill>
                  <a:schemeClr val="bg1"/>
                </a:solidFill>
                <a:latin typeface="Intro Regular"/>
              </a:rPr>
              <a:t>Desbloqueio Remoto </a:t>
            </a:r>
          </a:p>
        </p:txBody>
      </p:sp>
      <p:pic>
        <p:nvPicPr>
          <p:cNvPr id="10" name="Imagem 9" descr="Tela de um aparelho celular&#10;&#10;O conteúdo gerado por IA pode estar incorreto.">
            <a:extLst>
              <a:ext uri="{FF2B5EF4-FFF2-40B4-BE49-F238E27FC236}">
                <a16:creationId xmlns:a16="http://schemas.microsoft.com/office/drawing/2014/main" id="{5692C7AB-4050-2ADA-6592-F1731AE3EC98}"/>
              </a:ext>
            </a:extLst>
          </p:cNvPr>
          <p:cNvPicPr>
            <a:picLocks noChangeAspect="1"/>
          </p:cNvPicPr>
          <p:nvPr/>
        </p:nvPicPr>
        <p:blipFill>
          <a:blip r:embed="rId10"/>
          <a:srcRect l="3375" t="698" r="9620" b="2019"/>
          <a:stretch>
            <a:fillRect/>
          </a:stretch>
        </p:blipFill>
        <p:spPr>
          <a:xfrm>
            <a:off x="4419600" y="1627033"/>
            <a:ext cx="5762790" cy="4248164"/>
          </a:xfrm>
          <a:prstGeom prst="roundRect">
            <a:avLst/>
          </a:prstGeom>
        </p:spPr>
      </p:pic>
    </p:spTree>
    <p:extLst>
      <p:ext uri="{BB962C8B-B14F-4D97-AF65-F5344CB8AC3E}">
        <p14:creationId xmlns:p14="http://schemas.microsoft.com/office/powerpoint/2010/main" val="1980771772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2F2F512B-7826-FB98-F3E7-02C66AA9AB8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m 2" descr="Interface gráfica do usuário&#10;&#10;O conteúdo gerado por IA pode estar incorreto.">
            <a:extLst>
              <a:ext uri="{FF2B5EF4-FFF2-40B4-BE49-F238E27FC236}">
                <a16:creationId xmlns:a16="http://schemas.microsoft.com/office/drawing/2014/main" id="{1F72CA91-CA36-34AA-964C-68E06F82383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6447" y="248306"/>
            <a:ext cx="1371600" cy="561358"/>
          </a:xfrm>
          <a:prstGeom prst="rect">
            <a:avLst/>
          </a:prstGeom>
        </p:spPr>
      </p:pic>
      <p:pic>
        <p:nvPicPr>
          <p:cNvPr id="1026" name="Picture 2" descr="logo claro PNG &amp; clipart images | Citypng">
            <a:extLst>
              <a:ext uri="{FF2B5EF4-FFF2-40B4-BE49-F238E27FC236}">
                <a16:creationId xmlns:a16="http://schemas.microsoft.com/office/drawing/2014/main" id="{A15C3506-1BEE-6E12-D590-47F2D25257C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ackgroundRemoval t="8875" b="90500" l="9625" r="90375">
                        <a14:foregroundMark x1="35125" y1="42750" x2="35125" y2="42750"/>
                        <a14:foregroundMark x1="35250" y1="45125" x2="33750" y2="54125"/>
                        <a14:foregroundMark x1="33750" y1="54125" x2="41375" y2="48750"/>
                        <a14:foregroundMark x1="41375" y1="48750" x2="36875" y2="40375"/>
                        <a14:foregroundMark x1="36875" y1="40375" x2="31375" y2="43625"/>
                        <a14:foregroundMark x1="22000" y1="41875" x2="12375" y2="50500"/>
                        <a14:foregroundMark x1="12375" y1="50500" x2="25625" y2="62375"/>
                        <a14:foregroundMark x1="25625" y1="62375" x2="52750" y2="64125"/>
                        <a14:foregroundMark x1="52750" y1="64125" x2="73500" y2="62500"/>
                        <a14:foregroundMark x1="73500" y1="62500" x2="87375" y2="56375"/>
                        <a14:foregroundMark x1="87375" y1="56375" x2="87125" y2="45625"/>
                        <a14:foregroundMark x1="87125" y1="45625" x2="84625" y2="37625"/>
                        <a14:foregroundMark x1="84625" y1="37625" x2="76500" y2="32125"/>
                        <a14:foregroundMark x1="76500" y1="32125" x2="57500" y2="27250"/>
                        <a14:foregroundMark x1="57500" y1="27250" x2="20250" y2="28750"/>
                        <a14:foregroundMark x1="20250" y1="28750" x2="15750" y2="38375"/>
                        <a14:foregroundMark x1="15750" y1="38375" x2="12250" y2="41125"/>
                        <a14:foregroundMark x1="28375" y1="36125" x2="17625" y2="48125"/>
                        <a14:foregroundMark x1="17625" y1="48125" x2="23875" y2="57625"/>
                        <a14:foregroundMark x1="23875" y1="57625" x2="34500" y2="44000"/>
                        <a14:foregroundMark x1="34500" y1="44000" x2="21250" y2="39375"/>
                        <a14:foregroundMark x1="21250" y1="39375" x2="19250" y2="41250"/>
                        <a14:foregroundMark x1="26250" y1="40250" x2="27375" y2="52750"/>
                        <a14:foregroundMark x1="27375" y1="52750" x2="28875" y2="40125"/>
                        <a14:foregroundMark x1="28875" y1="40125" x2="18750" y2="45500"/>
                        <a14:foregroundMark x1="18750" y1="45500" x2="20750" y2="48625"/>
                        <a14:foregroundMark x1="26875" y1="40625" x2="27375" y2="58250"/>
                        <a14:foregroundMark x1="27375" y1="58250" x2="30625" y2="48375"/>
                        <a14:foregroundMark x1="30625" y1="48375" x2="20375" y2="51125"/>
                        <a14:foregroundMark x1="20375" y1="51125" x2="20375" y2="52375"/>
                        <a14:foregroundMark x1="19125" y1="42500" x2="25500" y2="55125"/>
                        <a14:foregroundMark x1="25500" y1="55125" x2="25125" y2="59500"/>
                        <a14:foregroundMark x1="22250" y1="56750" x2="21750" y2="58125"/>
                        <a14:foregroundMark x1="38500" y1="39875" x2="29750" y2="53250"/>
                        <a14:foregroundMark x1="29750" y1="53250" x2="34875" y2="62125"/>
                        <a14:foregroundMark x1="34875" y1="62125" x2="39750" y2="49375"/>
                        <a14:foregroundMark x1="39750" y1="49375" x2="36125" y2="43000"/>
                        <a14:foregroundMark x1="43375" y1="42375" x2="41000" y2="60750"/>
                        <a14:foregroundMark x1="41000" y1="60750" x2="51625" y2="47750"/>
                        <a14:foregroundMark x1="51625" y1="47750" x2="43375" y2="46875"/>
                        <a14:foregroundMark x1="43375" y1="46875" x2="41375" y2="48000"/>
                        <a14:foregroundMark x1="47125" y1="50750" x2="48375" y2="59000"/>
                        <a14:foregroundMark x1="48375" y1="59000" x2="45125" y2="53500"/>
                        <a14:foregroundMark x1="53625" y1="43250" x2="52125" y2="50125"/>
                        <a14:foregroundMark x1="52125" y1="50125" x2="54125" y2="58375"/>
                        <a14:foregroundMark x1="54125" y1="58375" x2="58125" y2="50500"/>
                        <a14:foregroundMark x1="58125" y1="50500" x2="53250" y2="45125"/>
                        <a14:foregroundMark x1="53250" y1="45125" x2="51500" y2="45375"/>
                        <a14:foregroundMark x1="58625" y1="42000" x2="59750" y2="52125"/>
                        <a14:foregroundMark x1="59750" y1="52125" x2="57750" y2="45000"/>
                        <a14:foregroundMark x1="63000" y1="45375" x2="61000" y2="62375"/>
                        <a14:foregroundMark x1="61000" y1="62375" x2="73375" y2="56375"/>
                        <a14:foregroundMark x1="73375" y1="56375" x2="72000" y2="45625"/>
                        <a14:foregroundMark x1="72000" y1="45625" x2="64375" y2="43500"/>
                        <a14:foregroundMark x1="64375" y1="43500" x2="61750" y2="33375"/>
                        <a14:foregroundMark x1="61750" y1="33375" x2="72625" y2="31250"/>
                        <a14:foregroundMark x1="72625" y1="31250" x2="67750" y2="44000"/>
                        <a14:foregroundMark x1="67750" y1="44000" x2="73125" y2="38125"/>
                        <a14:foregroundMark x1="73125" y1="38125" x2="81750" y2="37125"/>
                        <a14:foregroundMark x1="81750" y1="37125" x2="77625" y2="50250"/>
                        <a14:foregroundMark x1="77625" y1="50250" x2="81750" y2="52375"/>
                        <a14:foregroundMark x1="68875" y1="31750" x2="67125" y2="43250"/>
                        <a14:foregroundMark x1="67125" y1="43250" x2="69125" y2="34625"/>
                        <a14:foregroundMark x1="78750" y1="32500" x2="75250" y2="44500"/>
                        <a14:foregroundMark x1="75250" y1="44500" x2="79875" y2="36750"/>
                        <a14:foregroundMark x1="79875" y1="36750" x2="76875" y2="36375"/>
                        <a14:foregroundMark x1="78750" y1="46625" x2="80125" y2="55500"/>
                        <a14:foregroundMark x1="80125" y1="55500" x2="80750" y2="46125"/>
                        <a14:foregroundMark x1="80750" y1="46125" x2="77750" y2="45875"/>
                        <a14:foregroundMark x1="90375" y1="44000" x2="88750" y2="56375"/>
                        <a14:foregroundMark x1="45750" y1="10250" x2="57875" y2="11500"/>
                        <a14:foregroundMark x1="54125" y1="8875" x2="53500" y2="9125"/>
                        <a14:foregroundMark x1="49500" y1="90500" x2="54125" y2="89500"/>
                        <a14:foregroundMark x1="9625" y1="49625" x2="11000" y2="47125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3256" t="7288" r="7881" b="3666"/>
          <a:stretch>
            <a:fillRect/>
          </a:stretch>
        </p:blipFill>
        <p:spPr bwMode="auto">
          <a:xfrm>
            <a:off x="11238614" y="5890437"/>
            <a:ext cx="733648" cy="7351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Imagem 4" descr="Tela de um aparelho celular&#10;&#10;O conteúdo gerado por IA pode estar incorreto.">
            <a:extLst>
              <a:ext uri="{FF2B5EF4-FFF2-40B4-BE49-F238E27FC236}">
                <a16:creationId xmlns:a16="http://schemas.microsoft.com/office/drawing/2014/main" id="{59BF5A66-21B2-6904-1982-9F2C1915504A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ackgroundRemoval t="5381" b="92377" l="9091" r="89773">
                        <a14:foregroundMark x1="42614" y1="5605" x2="50568" y2="7623"/>
                        <a14:foregroundMark x1="39773" y1="90359" x2="50568" y2="92377"/>
                      </a14:backgroundRemoval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0322174" y="177308"/>
            <a:ext cx="643184" cy="1629888"/>
          </a:xfrm>
          <a:prstGeom prst="roundRect">
            <a:avLst>
              <a:gd name="adj" fmla="val 11213"/>
            </a:avLst>
          </a:prstGeom>
          <a:effectLst>
            <a:glow rad="139700">
              <a:schemeClr val="bg1">
                <a:lumMod val="95000"/>
                <a:alpha val="40000"/>
              </a:schemeClr>
            </a:glow>
          </a:effectLst>
        </p:spPr>
      </p:pic>
      <p:sp>
        <p:nvSpPr>
          <p:cNvPr id="9" name="CaixaDeTexto 8">
            <a:extLst>
              <a:ext uri="{FF2B5EF4-FFF2-40B4-BE49-F238E27FC236}">
                <a16:creationId xmlns:a16="http://schemas.microsoft.com/office/drawing/2014/main" id="{B1894E4B-4003-E83D-3C9A-EA67C7E1EA2F}"/>
              </a:ext>
            </a:extLst>
          </p:cNvPr>
          <p:cNvSpPr txBox="1"/>
          <p:nvPr/>
        </p:nvSpPr>
        <p:spPr>
          <a:xfrm>
            <a:off x="7941206" y="670292"/>
            <a:ext cx="270256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sz="1800" b="1" i="0" u="none" strike="noStrike" baseline="0" dirty="0">
                <a:solidFill>
                  <a:schemeClr val="bg1"/>
                </a:solidFill>
                <a:latin typeface="Candara" panose="020E0502030303020204" pitchFamily="34" charset="0"/>
              </a:rPr>
              <a:t>Fechadura Eletrônica </a:t>
            </a:r>
            <a:endParaRPr lang="pt-BR" dirty="0">
              <a:solidFill>
                <a:schemeClr val="bg1"/>
              </a:solidFill>
              <a:latin typeface="Candara" panose="020E0502030303020204" pitchFamily="34" charset="0"/>
            </a:endParaRPr>
          </a:p>
        </p:txBody>
      </p:sp>
      <p:pic>
        <p:nvPicPr>
          <p:cNvPr id="11" name="Imagem 10" descr="Controle remoto preto sobre fundo branco&#10;&#10;O conteúdo gerado por IA pode estar incorreto.">
            <a:extLst>
              <a:ext uri="{FF2B5EF4-FFF2-40B4-BE49-F238E27FC236}">
                <a16:creationId xmlns:a16="http://schemas.microsoft.com/office/drawing/2014/main" id="{D215DACA-C1E2-4A95-AE8F-414A55BB6478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ackgroundRemoval t="4144" b="97652" l="9071" r="95248">
                        <a14:foregroundMark x1="23110" y1="65746" x2="18575" y2="92541"/>
                        <a14:foregroundMark x1="22462" y1="97928" x2="25054" y2="97928"/>
                        <a14:foregroundMark x1="26998" y1="7873" x2="19870" y2="7044"/>
                        <a14:foregroundMark x1="95464" y1="50000" x2="88985" y2="52486"/>
                        <a14:foregroundMark x1="29590" y1="4144" x2="23758" y2="5801"/>
                      </a14:backgroundRemoval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1105142" y="212076"/>
            <a:ext cx="1000591" cy="1564640"/>
          </a:xfrm>
          <a:prstGeom prst="rect">
            <a:avLst/>
          </a:prstGeom>
          <a:effectLst>
            <a:glow rad="63500">
              <a:schemeClr val="bg1">
                <a:lumMod val="95000"/>
                <a:alpha val="40000"/>
              </a:schemeClr>
            </a:glow>
          </a:effectLst>
        </p:spPr>
      </p:pic>
      <p:sp>
        <p:nvSpPr>
          <p:cNvPr id="4" name="CaixaDeTexto 3">
            <a:extLst>
              <a:ext uri="{FF2B5EF4-FFF2-40B4-BE49-F238E27FC236}">
                <a16:creationId xmlns:a16="http://schemas.microsoft.com/office/drawing/2014/main" id="{CCCCADAA-32FD-1AF1-7174-8E61A9C326E4}"/>
              </a:ext>
            </a:extLst>
          </p:cNvPr>
          <p:cNvSpPr txBox="1"/>
          <p:nvPr/>
        </p:nvSpPr>
        <p:spPr>
          <a:xfrm>
            <a:off x="4893206" y="2743200"/>
            <a:ext cx="6417592" cy="193899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/>
            <a:r>
              <a:rPr lang="pt-BR" sz="2000" b="1" i="0" u="none" strike="noStrike" baseline="0" dirty="0">
                <a:solidFill>
                  <a:schemeClr val="bg1"/>
                </a:solidFill>
                <a:latin typeface="Candara" panose="020E0502030303020204" pitchFamily="34" charset="0"/>
              </a:rPr>
              <a:t>PRINCIPAIS CARACTERÍSTICAS: </a:t>
            </a:r>
            <a:endParaRPr lang="pt-BR" sz="2000" b="0" i="0" u="none" strike="noStrike" baseline="0" dirty="0">
              <a:solidFill>
                <a:schemeClr val="bg1"/>
              </a:solidFill>
              <a:latin typeface="Candara" panose="020E0502030303020204" pitchFamily="34" charset="0"/>
            </a:endParaRPr>
          </a:p>
          <a:p>
            <a:pPr algn="r"/>
            <a:r>
              <a:rPr lang="pt-BR" sz="2000" b="0" i="0" u="none" strike="noStrike" baseline="0" dirty="0">
                <a:solidFill>
                  <a:schemeClr val="bg1"/>
                </a:solidFill>
                <a:latin typeface="Candara" panose="020E0502030303020204" pitchFamily="34" charset="0"/>
              </a:rPr>
              <a:t>Suporte até 300 usuários </a:t>
            </a:r>
          </a:p>
          <a:p>
            <a:pPr algn="r"/>
            <a:r>
              <a:rPr lang="pt-BR" sz="2000" b="0" i="0" u="none" strike="noStrike" baseline="0" dirty="0">
                <a:solidFill>
                  <a:schemeClr val="bg1"/>
                </a:solidFill>
                <a:latin typeface="Candara" panose="020E0502030303020204" pitchFamily="34" charset="0"/>
              </a:rPr>
              <a:t>Registro de acessos via aplicativo </a:t>
            </a:r>
          </a:p>
          <a:p>
            <a:pPr algn="r"/>
            <a:r>
              <a:rPr lang="pt-BR" sz="2000" b="0" i="0" u="none" strike="noStrike" baseline="0" dirty="0">
                <a:solidFill>
                  <a:schemeClr val="bg1"/>
                </a:solidFill>
                <a:latin typeface="Candara" panose="020E0502030303020204" pitchFamily="34" charset="0"/>
              </a:rPr>
              <a:t>Compatível com abertura para direita ou esquerda (maçaneta reversível) </a:t>
            </a:r>
          </a:p>
          <a:p>
            <a:pPr algn="r"/>
            <a:r>
              <a:rPr lang="pt-BR" sz="2000" b="0" i="0" u="none" strike="noStrike" baseline="0" dirty="0">
                <a:solidFill>
                  <a:schemeClr val="bg1"/>
                </a:solidFill>
                <a:latin typeface="Candara" panose="020E0502030303020204" pitchFamily="34" charset="0"/>
              </a:rPr>
              <a:t>Função campainha (solicitação de desbloqueio) </a:t>
            </a:r>
          </a:p>
        </p:txBody>
      </p:sp>
      <p:pic>
        <p:nvPicPr>
          <p:cNvPr id="7" name="Imagem 6" descr="Mão segurando aparelho de telefone celular com letras&#10;&#10;O conteúdo gerado por IA pode estar incorreto.">
            <a:extLst>
              <a:ext uri="{FF2B5EF4-FFF2-40B4-BE49-F238E27FC236}">
                <a16:creationId xmlns:a16="http://schemas.microsoft.com/office/drawing/2014/main" id="{95284883-DEBF-0029-FB63-1F692D939832}"/>
              </a:ext>
            </a:extLst>
          </p:cNvPr>
          <p:cNvPicPr>
            <a:picLocks noChangeAspect="1"/>
          </p:cNvPicPr>
          <p:nvPr/>
        </p:nvPicPr>
        <p:blipFill>
          <a:blip r:embed="rId10"/>
          <a:srcRect l="-2098" t="3105" r="-1"/>
          <a:stretch>
            <a:fillRect/>
          </a:stretch>
        </p:blipFill>
        <p:spPr>
          <a:xfrm>
            <a:off x="1340792" y="1197596"/>
            <a:ext cx="2476772" cy="5199054"/>
          </a:xfrm>
          <a:prstGeom prst="roundRect">
            <a:avLst>
              <a:gd name="adj" fmla="val 11334"/>
            </a:avLst>
          </a:prstGeom>
        </p:spPr>
      </p:pic>
    </p:spTree>
    <p:extLst>
      <p:ext uri="{BB962C8B-B14F-4D97-AF65-F5344CB8AC3E}">
        <p14:creationId xmlns:p14="http://schemas.microsoft.com/office/powerpoint/2010/main" val="3986677107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B0D37CCF-AE97-B0EA-3952-530979B2F63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m 2" descr="Interface gráfica do usuário&#10;&#10;O conteúdo gerado por IA pode estar incorreto.">
            <a:extLst>
              <a:ext uri="{FF2B5EF4-FFF2-40B4-BE49-F238E27FC236}">
                <a16:creationId xmlns:a16="http://schemas.microsoft.com/office/drawing/2014/main" id="{BCACE72B-D7C6-5A9D-B267-689DD5AD665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6447" y="248306"/>
            <a:ext cx="1371600" cy="561358"/>
          </a:xfrm>
          <a:prstGeom prst="rect">
            <a:avLst/>
          </a:prstGeom>
        </p:spPr>
      </p:pic>
      <p:pic>
        <p:nvPicPr>
          <p:cNvPr id="1026" name="Picture 2" descr="logo claro PNG &amp; clipart images | Citypng">
            <a:extLst>
              <a:ext uri="{FF2B5EF4-FFF2-40B4-BE49-F238E27FC236}">
                <a16:creationId xmlns:a16="http://schemas.microsoft.com/office/drawing/2014/main" id="{AE2B8F1E-05CF-DE87-9C94-42E55E1BC9CF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ackgroundRemoval t="8875" b="90500" l="9625" r="90375">
                        <a14:foregroundMark x1="35125" y1="42750" x2="35125" y2="42750"/>
                        <a14:foregroundMark x1="35250" y1="45125" x2="33750" y2="54125"/>
                        <a14:foregroundMark x1="33750" y1="54125" x2="41375" y2="48750"/>
                        <a14:foregroundMark x1="41375" y1="48750" x2="36875" y2="40375"/>
                        <a14:foregroundMark x1="36875" y1="40375" x2="31375" y2="43625"/>
                        <a14:foregroundMark x1="22000" y1="41875" x2="12375" y2="50500"/>
                        <a14:foregroundMark x1="12375" y1="50500" x2="25625" y2="62375"/>
                        <a14:foregroundMark x1="25625" y1="62375" x2="52750" y2="64125"/>
                        <a14:foregroundMark x1="52750" y1="64125" x2="73500" y2="62500"/>
                        <a14:foregroundMark x1="73500" y1="62500" x2="87375" y2="56375"/>
                        <a14:foregroundMark x1="87375" y1="56375" x2="87125" y2="45625"/>
                        <a14:foregroundMark x1="87125" y1="45625" x2="84625" y2="37625"/>
                        <a14:foregroundMark x1="84625" y1="37625" x2="76500" y2="32125"/>
                        <a14:foregroundMark x1="76500" y1="32125" x2="57500" y2="27250"/>
                        <a14:foregroundMark x1="57500" y1="27250" x2="20250" y2="28750"/>
                        <a14:foregroundMark x1="20250" y1="28750" x2="15750" y2="38375"/>
                        <a14:foregroundMark x1="15750" y1="38375" x2="12250" y2="41125"/>
                        <a14:foregroundMark x1="28375" y1="36125" x2="17625" y2="48125"/>
                        <a14:foregroundMark x1="17625" y1="48125" x2="23875" y2="57625"/>
                        <a14:foregroundMark x1="23875" y1="57625" x2="34500" y2="44000"/>
                        <a14:foregroundMark x1="34500" y1="44000" x2="21250" y2="39375"/>
                        <a14:foregroundMark x1="21250" y1="39375" x2="19250" y2="41250"/>
                        <a14:foregroundMark x1="26250" y1="40250" x2="27375" y2="52750"/>
                        <a14:foregroundMark x1="27375" y1="52750" x2="28875" y2="40125"/>
                        <a14:foregroundMark x1="28875" y1="40125" x2="18750" y2="45500"/>
                        <a14:foregroundMark x1="18750" y1="45500" x2="20750" y2="48625"/>
                        <a14:foregroundMark x1="26875" y1="40625" x2="27375" y2="58250"/>
                        <a14:foregroundMark x1="27375" y1="58250" x2="30625" y2="48375"/>
                        <a14:foregroundMark x1="30625" y1="48375" x2="20375" y2="51125"/>
                        <a14:foregroundMark x1="20375" y1="51125" x2="20375" y2="52375"/>
                        <a14:foregroundMark x1="19125" y1="42500" x2="25500" y2="55125"/>
                        <a14:foregroundMark x1="25500" y1="55125" x2="25125" y2="59500"/>
                        <a14:foregroundMark x1="22250" y1="56750" x2="21750" y2="58125"/>
                        <a14:foregroundMark x1="38500" y1="39875" x2="29750" y2="53250"/>
                        <a14:foregroundMark x1="29750" y1="53250" x2="34875" y2="62125"/>
                        <a14:foregroundMark x1="34875" y1="62125" x2="39750" y2="49375"/>
                        <a14:foregroundMark x1="39750" y1="49375" x2="36125" y2="43000"/>
                        <a14:foregroundMark x1="43375" y1="42375" x2="41000" y2="60750"/>
                        <a14:foregroundMark x1="41000" y1="60750" x2="51625" y2="47750"/>
                        <a14:foregroundMark x1="51625" y1="47750" x2="43375" y2="46875"/>
                        <a14:foregroundMark x1="43375" y1="46875" x2="41375" y2="48000"/>
                        <a14:foregroundMark x1="47125" y1="50750" x2="48375" y2="59000"/>
                        <a14:foregroundMark x1="48375" y1="59000" x2="45125" y2="53500"/>
                        <a14:foregroundMark x1="53625" y1="43250" x2="52125" y2="50125"/>
                        <a14:foregroundMark x1="52125" y1="50125" x2="54125" y2="58375"/>
                        <a14:foregroundMark x1="54125" y1="58375" x2="58125" y2="50500"/>
                        <a14:foregroundMark x1="58125" y1="50500" x2="53250" y2="45125"/>
                        <a14:foregroundMark x1="53250" y1="45125" x2="51500" y2="45375"/>
                        <a14:foregroundMark x1="58625" y1="42000" x2="59750" y2="52125"/>
                        <a14:foregroundMark x1="59750" y1="52125" x2="57750" y2="45000"/>
                        <a14:foregroundMark x1="63000" y1="45375" x2="61000" y2="62375"/>
                        <a14:foregroundMark x1="61000" y1="62375" x2="73375" y2="56375"/>
                        <a14:foregroundMark x1="73375" y1="56375" x2="72000" y2="45625"/>
                        <a14:foregroundMark x1="72000" y1="45625" x2="64375" y2="43500"/>
                        <a14:foregroundMark x1="64375" y1="43500" x2="61750" y2="33375"/>
                        <a14:foregroundMark x1="61750" y1="33375" x2="72625" y2="31250"/>
                        <a14:foregroundMark x1="72625" y1="31250" x2="67750" y2="44000"/>
                        <a14:foregroundMark x1="67750" y1="44000" x2="73125" y2="38125"/>
                        <a14:foregroundMark x1="73125" y1="38125" x2="81750" y2="37125"/>
                        <a14:foregroundMark x1="81750" y1="37125" x2="77625" y2="50250"/>
                        <a14:foregroundMark x1="77625" y1="50250" x2="81750" y2="52375"/>
                        <a14:foregroundMark x1="68875" y1="31750" x2="67125" y2="43250"/>
                        <a14:foregroundMark x1="67125" y1="43250" x2="69125" y2="34625"/>
                        <a14:foregroundMark x1="78750" y1="32500" x2="75250" y2="44500"/>
                        <a14:foregroundMark x1="75250" y1="44500" x2="79875" y2="36750"/>
                        <a14:foregroundMark x1="79875" y1="36750" x2="76875" y2="36375"/>
                        <a14:foregroundMark x1="78750" y1="46625" x2="80125" y2="55500"/>
                        <a14:foregroundMark x1="80125" y1="55500" x2="80750" y2="46125"/>
                        <a14:foregroundMark x1="80750" y1="46125" x2="77750" y2="45875"/>
                        <a14:foregroundMark x1="90375" y1="44000" x2="88750" y2="56375"/>
                        <a14:foregroundMark x1="45750" y1="10250" x2="57875" y2="11500"/>
                        <a14:foregroundMark x1="54125" y1="8875" x2="53500" y2="9125"/>
                        <a14:foregroundMark x1="49500" y1="90500" x2="54125" y2="89500"/>
                        <a14:foregroundMark x1="9625" y1="49625" x2="11000" y2="47125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3256" t="7288" r="7881" b="3666"/>
          <a:stretch>
            <a:fillRect/>
          </a:stretch>
        </p:blipFill>
        <p:spPr bwMode="auto">
          <a:xfrm>
            <a:off x="11238614" y="5890437"/>
            <a:ext cx="733648" cy="7351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Imagem 4" descr="Tela de um aparelho celular&#10;&#10;O conteúdo gerado por IA pode estar incorreto.">
            <a:extLst>
              <a:ext uri="{FF2B5EF4-FFF2-40B4-BE49-F238E27FC236}">
                <a16:creationId xmlns:a16="http://schemas.microsoft.com/office/drawing/2014/main" id="{C2252DF3-7327-2DD8-43F2-56ED0CBF2B53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ackgroundRemoval t="5381" b="92377" l="9091" r="89773">
                        <a14:foregroundMark x1="42614" y1="5605" x2="50568" y2="7623"/>
                        <a14:foregroundMark x1="39773" y1="90359" x2="50568" y2="92377"/>
                      </a14:backgroundRemoval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0322174" y="177308"/>
            <a:ext cx="643184" cy="1629888"/>
          </a:xfrm>
          <a:prstGeom prst="roundRect">
            <a:avLst>
              <a:gd name="adj" fmla="val 11213"/>
            </a:avLst>
          </a:prstGeom>
          <a:effectLst>
            <a:glow rad="139700">
              <a:schemeClr val="bg1">
                <a:lumMod val="95000"/>
                <a:alpha val="40000"/>
              </a:schemeClr>
            </a:glow>
          </a:effectLst>
        </p:spPr>
      </p:pic>
      <p:sp>
        <p:nvSpPr>
          <p:cNvPr id="9" name="CaixaDeTexto 8">
            <a:extLst>
              <a:ext uri="{FF2B5EF4-FFF2-40B4-BE49-F238E27FC236}">
                <a16:creationId xmlns:a16="http://schemas.microsoft.com/office/drawing/2014/main" id="{63A51FF6-C621-013B-89E2-60D59BB20D3B}"/>
              </a:ext>
            </a:extLst>
          </p:cNvPr>
          <p:cNvSpPr txBox="1"/>
          <p:nvPr/>
        </p:nvSpPr>
        <p:spPr>
          <a:xfrm>
            <a:off x="7941206" y="670292"/>
            <a:ext cx="270256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sz="1800" b="1" i="0" u="none" strike="noStrike" baseline="0" dirty="0">
                <a:solidFill>
                  <a:schemeClr val="bg1"/>
                </a:solidFill>
                <a:latin typeface="Candara" panose="020E0502030303020204" pitchFamily="34" charset="0"/>
              </a:rPr>
              <a:t>Fechadura Eletrônica </a:t>
            </a:r>
            <a:endParaRPr lang="pt-BR" dirty="0">
              <a:solidFill>
                <a:schemeClr val="bg1"/>
              </a:solidFill>
              <a:latin typeface="Candara" panose="020E0502030303020204" pitchFamily="34" charset="0"/>
            </a:endParaRPr>
          </a:p>
        </p:txBody>
      </p:sp>
      <p:pic>
        <p:nvPicPr>
          <p:cNvPr id="11" name="Imagem 10" descr="Controle remoto preto sobre fundo branco&#10;&#10;O conteúdo gerado por IA pode estar incorreto.">
            <a:extLst>
              <a:ext uri="{FF2B5EF4-FFF2-40B4-BE49-F238E27FC236}">
                <a16:creationId xmlns:a16="http://schemas.microsoft.com/office/drawing/2014/main" id="{324EC8B4-9AC6-DA87-66C4-EFF403038ABB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ackgroundRemoval t="4144" b="97652" l="9071" r="95248">
                        <a14:foregroundMark x1="23110" y1="65746" x2="18575" y2="92541"/>
                        <a14:foregroundMark x1="22462" y1="97928" x2="25054" y2="97928"/>
                        <a14:foregroundMark x1="26998" y1="7873" x2="19870" y2="7044"/>
                        <a14:foregroundMark x1="95464" y1="50000" x2="88985" y2="52486"/>
                        <a14:foregroundMark x1="29590" y1="4144" x2="23758" y2="5801"/>
                      </a14:backgroundRemoval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1105142" y="212076"/>
            <a:ext cx="1000591" cy="1564640"/>
          </a:xfrm>
          <a:prstGeom prst="rect">
            <a:avLst/>
          </a:prstGeom>
          <a:effectLst>
            <a:glow rad="63500">
              <a:schemeClr val="bg1">
                <a:lumMod val="95000"/>
                <a:alpha val="40000"/>
              </a:schemeClr>
            </a:glow>
          </a:effectLst>
        </p:spPr>
      </p:pic>
      <p:sp>
        <p:nvSpPr>
          <p:cNvPr id="6" name="CaixaDeTexto 5">
            <a:extLst>
              <a:ext uri="{FF2B5EF4-FFF2-40B4-BE49-F238E27FC236}">
                <a16:creationId xmlns:a16="http://schemas.microsoft.com/office/drawing/2014/main" id="{D80D750F-5F53-0FE9-DFCC-B5077F6B94C9}"/>
              </a:ext>
            </a:extLst>
          </p:cNvPr>
          <p:cNvSpPr txBox="1"/>
          <p:nvPr/>
        </p:nvSpPr>
        <p:spPr>
          <a:xfrm>
            <a:off x="487680" y="1983214"/>
            <a:ext cx="6096000" cy="31393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sz="1800" b="1" i="0" u="none" strike="noStrike" baseline="0" dirty="0">
                <a:solidFill>
                  <a:schemeClr val="bg1"/>
                </a:solidFill>
                <a:latin typeface="Candara" panose="020E0502030303020204" pitchFamily="34" charset="0"/>
              </a:rPr>
              <a:t>CARACTERÍSTICAS: </a:t>
            </a:r>
            <a:endParaRPr lang="pt-BR" sz="1800" b="0" i="0" u="none" strike="noStrike" baseline="0" dirty="0">
              <a:solidFill>
                <a:schemeClr val="bg1"/>
              </a:solidFill>
              <a:latin typeface="Candara" panose="020E0502030303020204" pitchFamily="34" charset="0"/>
            </a:endParaRPr>
          </a:p>
          <a:p>
            <a:r>
              <a:rPr lang="pt-BR" sz="1800" b="0" i="0" u="none" strike="noStrike" baseline="0" dirty="0">
                <a:solidFill>
                  <a:schemeClr val="bg1"/>
                </a:solidFill>
                <a:latin typeface="Candara" panose="020E0502030303020204" pitchFamily="34" charset="0"/>
              </a:rPr>
              <a:t>Possibilidade de ativar modo dupla proteção (fechadura só abre depois de digitar a senha e pressionar a digital) </a:t>
            </a:r>
          </a:p>
          <a:p>
            <a:r>
              <a:rPr lang="pt-BR" sz="1800" b="0" i="0" u="none" strike="noStrike" baseline="0" dirty="0">
                <a:solidFill>
                  <a:schemeClr val="bg1"/>
                </a:solidFill>
                <a:latin typeface="Candara" panose="020E0502030303020204" pitchFamily="34" charset="0"/>
              </a:rPr>
              <a:t>Alimentação via pilha, funciona mesmo sem energia elétrica no local </a:t>
            </a:r>
          </a:p>
          <a:p>
            <a:r>
              <a:rPr lang="pt-BR" sz="1800" b="0" i="0" u="none" strike="noStrike" baseline="0" dirty="0">
                <a:solidFill>
                  <a:schemeClr val="bg1"/>
                </a:solidFill>
                <a:latin typeface="Candara" panose="020E0502030303020204" pitchFamily="34" charset="0"/>
              </a:rPr>
              <a:t>Aviso de bateria fraca </a:t>
            </a:r>
          </a:p>
          <a:p>
            <a:r>
              <a:rPr lang="pt-BR" sz="1800" b="0" i="0" u="none" strike="noStrike" baseline="0" dirty="0">
                <a:solidFill>
                  <a:schemeClr val="bg1"/>
                </a:solidFill>
                <a:latin typeface="Candara" panose="020E0502030303020204" pitchFamily="34" charset="0"/>
              </a:rPr>
              <a:t>Plug para alimentação de emergência </a:t>
            </a:r>
          </a:p>
          <a:p>
            <a:r>
              <a:rPr lang="pt-BR" sz="1800" b="0" i="0" u="none" strike="noStrike" baseline="0" dirty="0">
                <a:solidFill>
                  <a:schemeClr val="bg1"/>
                </a:solidFill>
                <a:latin typeface="Candara" panose="020E0502030303020204" pitchFamily="34" charset="0"/>
              </a:rPr>
              <a:t>Duas chaves de emergência </a:t>
            </a:r>
          </a:p>
          <a:p>
            <a:r>
              <a:rPr lang="pt-BR" sz="1800" b="0" i="0" u="none" strike="noStrike" baseline="0" dirty="0">
                <a:solidFill>
                  <a:schemeClr val="bg1"/>
                </a:solidFill>
                <a:latin typeface="Candara" panose="020E0502030303020204" pitchFamily="34" charset="0"/>
              </a:rPr>
              <a:t>Teclado </a:t>
            </a:r>
            <a:r>
              <a:rPr lang="pt-BR" sz="1800" b="0" i="0" u="none" strike="noStrike" baseline="0" dirty="0" err="1">
                <a:solidFill>
                  <a:schemeClr val="bg1"/>
                </a:solidFill>
                <a:latin typeface="Candara" panose="020E0502030303020204" pitchFamily="34" charset="0"/>
              </a:rPr>
              <a:t>touch</a:t>
            </a:r>
            <a:r>
              <a:rPr lang="pt-BR" sz="1800" b="0" i="0" u="none" strike="noStrike" baseline="0" dirty="0">
                <a:solidFill>
                  <a:schemeClr val="bg1"/>
                </a:solidFill>
                <a:latin typeface="Candara" panose="020E0502030303020204" pitchFamily="34" charset="0"/>
              </a:rPr>
              <a:t> luminoso </a:t>
            </a:r>
          </a:p>
          <a:p>
            <a:r>
              <a:rPr lang="pt-BR" sz="1800" b="0" i="0" u="none" strike="noStrike" baseline="0" dirty="0">
                <a:solidFill>
                  <a:schemeClr val="bg1"/>
                </a:solidFill>
                <a:latin typeface="Candara" panose="020E0502030303020204" pitchFamily="34" charset="0"/>
              </a:rPr>
              <a:t>Para portas pivotantes, comuns ou metálicas </a:t>
            </a:r>
          </a:p>
          <a:p>
            <a:r>
              <a:rPr lang="pt-BR" sz="1800" b="0" i="0" u="none" strike="noStrike" baseline="0" dirty="0">
                <a:solidFill>
                  <a:schemeClr val="bg1"/>
                </a:solidFill>
                <a:latin typeface="Candara" panose="020E0502030303020204" pitchFamily="34" charset="0"/>
              </a:rPr>
              <a:t>Compatível com portas de 35mm a 50mm </a:t>
            </a:r>
          </a:p>
        </p:txBody>
      </p:sp>
      <p:pic>
        <p:nvPicPr>
          <p:cNvPr id="10" name="Imagem 9" descr="Tela de um aparelho eletrônico&#10;&#10;O conteúdo gerado por IA pode estar incorreto.">
            <a:extLst>
              <a:ext uri="{FF2B5EF4-FFF2-40B4-BE49-F238E27FC236}">
                <a16:creationId xmlns:a16="http://schemas.microsoft.com/office/drawing/2014/main" id="{E47CEBC9-8654-4691-3943-4EF883AC556D}"/>
              </a:ext>
            </a:extLst>
          </p:cNvPr>
          <p:cNvPicPr>
            <a:picLocks noChangeAspect="1"/>
          </p:cNvPicPr>
          <p:nvPr/>
        </p:nvPicPr>
        <p:blipFill>
          <a:blip r:embed="rId10"/>
          <a:srcRect l="8638" t="13098" r="5799" b="2849"/>
          <a:stretch>
            <a:fillRect/>
          </a:stretch>
        </p:blipFill>
        <p:spPr>
          <a:xfrm>
            <a:off x="7101840" y="1807196"/>
            <a:ext cx="3618614" cy="3635766"/>
          </a:xfrm>
          <a:prstGeom prst="ellipse">
            <a:avLst/>
          </a:prstGeom>
        </p:spPr>
      </p:pic>
    </p:spTree>
    <p:extLst>
      <p:ext uri="{BB962C8B-B14F-4D97-AF65-F5344CB8AC3E}">
        <p14:creationId xmlns:p14="http://schemas.microsoft.com/office/powerpoint/2010/main" val="1506580730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14F91627-728F-D151-9D4A-7718670CC0F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m 2" descr="Interface gráfica do usuário&#10;&#10;O conteúdo gerado por IA pode estar incorreto.">
            <a:extLst>
              <a:ext uri="{FF2B5EF4-FFF2-40B4-BE49-F238E27FC236}">
                <a16:creationId xmlns:a16="http://schemas.microsoft.com/office/drawing/2014/main" id="{1B49C55D-77F4-8F33-4646-B6113A7F2FD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6447" y="248306"/>
            <a:ext cx="1371600" cy="561358"/>
          </a:xfrm>
          <a:prstGeom prst="rect">
            <a:avLst/>
          </a:prstGeom>
        </p:spPr>
      </p:pic>
      <p:pic>
        <p:nvPicPr>
          <p:cNvPr id="1026" name="Picture 2" descr="logo claro PNG &amp; clipart images | Citypng">
            <a:extLst>
              <a:ext uri="{FF2B5EF4-FFF2-40B4-BE49-F238E27FC236}">
                <a16:creationId xmlns:a16="http://schemas.microsoft.com/office/drawing/2014/main" id="{CD6652CD-A926-6633-F2A7-616625E1FDD2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ackgroundRemoval t="8875" b="90500" l="9625" r="90375">
                        <a14:foregroundMark x1="35125" y1="42750" x2="35125" y2="42750"/>
                        <a14:foregroundMark x1="35250" y1="45125" x2="33750" y2="54125"/>
                        <a14:foregroundMark x1="33750" y1="54125" x2="41375" y2="48750"/>
                        <a14:foregroundMark x1="41375" y1="48750" x2="36875" y2="40375"/>
                        <a14:foregroundMark x1="36875" y1="40375" x2="31375" y2="43625"/>
                        <a14:foregroundMark x1="22000" y1="41875" x2="12375" y2="50500"/>
                        <a14:foregroundMark x1="12375" y1="50500" x2="25625" y2="62375"/>
                        <a14:foregroundMark x1="25625" y1="62375" x2="52750" y2="64125"/>
                        <a14:foregroundMark x1="52750" y1="64125" x2="73500" y2="62500"/>
                        <a14:foregroundMark x1="73500" y1="62500" x2="87375" y2="56375"/>
                        <a14:foregroundMark x1="87375" y1="56375" x2="87125" y2="45625"/>
                        <a14:foregroundMark x1="87125" y1="45625" x2="84625" y2="37625"/>
                        <a14:foregroundMark x1="84625" y1="37625" x2="76500" y2="32125"/>
                        <a14:foregroundMark x1="76500" y1="32125" x2="57500" y2="27250"/>
                        <a14:foregroundMark x1="57500" y1="27250" x2="20250" y2="28750"/>
                        <a14:foregroundMark x1="20250" y1="28750" x2="15750" y2="38375"/>
                        <a14:foregroundMark x1="15750" y1="38375" x2="12250" y2="41125"/>
                        <a14:foregroundMark x1="28375" y1="36125" x2="17625" y2="48125"/>
                        <a14:foregroundMark x1="17625" y1="48125" x2="23875" y2="57625"/>
                        <a14:foregroundMark x1="23875" y1="57625" x2="34500" y2="44000"/>
                        <a14:foregroundMark x1="34500" y1="44000" x2="21250" y2="39375"/>
                        <a14:foregroundMark x1="21250" y1="39375" x2="19250" y2="41250"/>
                        <a14:foregroundMark x1="26250" y1="40250" x2="27375" y2="52750"/>
                        <a14:foregroundMark x1="27375" y1="52750" x2="28875" y2="40125"/>
                        <a14:foregroundMark x1="28875" y1="40125" x2="18750" y2="45500"/>
                        <a14:foregroundMark x1="18750" y1="45500" x2="20750" y2="48625"/>
                        <a14:foregroundMark x1="26875" y1="40625" x2="27375" y2="58250"/>
                        <a14:foregroundMark x1="27375" y1="58250" x2="30625" y2="48375"/>
                        <a14:foregroundMark x1="30625" y1="48375" x2="20375" y2="51125"/>
                        <a14:foregroundMark x1="20375" y1="51125" x2="20375" y2="52375"/>
                        <a14:foregroundMark x1="19125" y1="42500" x2="25500" y2="55125"/>
                        <a14:foregroundMark x1="25500" y1="55125" x2="25125" y2="59500"/>
                        <a14:foregroundMark x1="22250" y1="56750" x2="21750" y2="58125"/>
                        <a14:foregroundMark x1="38500" y1="39875" x2="29750" y2="53250"/>
                        <a14:foregroundMark x1="29750" y1="53250" x2="34875" y2="62125"/>
                        <a14:foregroundMark x1="34875" y1="62125" x2="39750" y2="49375"/>
                        <a14:foregroundMark x1="39750" y1="49375" x2="36125" y2="43000"/>
                        <a14:foregroundMark x1="43375" y1="42375" x2="41000" y2="60750"/>
                        <a14:foregroundMark x1="41000" y1="60750" x2="51625" y2="47750"/>
                        <a14:foregroundMark x1="51625" y1="47750" x2="43375" y2="46875"/>
                        <a14:foregroundMark x1="43375" y1="46875" x2="41375" y2="48000"/>
                        <a14:foregroundMark x1="47125" y1="50750" x2="48375" y2="59000"/>
                        <a14:foregroundMark x1="48375" y1="59000" x2="45125" y2="53500"/>
                        <a14:foregroundMark x1="53625" y1="43250" x2="52125" y2="50125"/>
                        <a14:foregroundMark x1="52125" y1="50125" x2="54125" y2="58375"/>
                        <a14:foregroundMark x1="54125" y1="58375" x2="58125" y2="50500"/>
                        <a14:foregroundMark x1="58125" y1="50500" x2="53250" y2="45125"/>
                        <a14:foregroundMark x1="53250" y1="45125" x2="51500" y2="45375"/>
                        <a14:foregroundMark x1="58625" y1="42000" x2="59750" y2="52125"/>
                        <a14:foregroundMark x1="59750" y1="52125" x2="57750" y2="45000"/>
                        <a14:foregroundMark x1="63000" y1="45375" x2="61000" y2="62375"/>
                        <a14:foregroundMark x1="61000" y1="62375" x2="73375" y2="56375"/>
                        <a14:foregroundMark x1="73375" y1="56375" x2="72000" y2="45625"/>
                        <a14:foregroundMark x1="72000" y1="45625" x2="64375" y2="43500"/>
                        <a14:foregroundMark x1="64375" y1="43500" x2="61750" y2="33375"/>
                        <a14:foregroundMark x1="61750" y1="33375" x2="72625" y2="31250"/>
                        <a14:foregroundMark x1="72625" y1="31250" x2="67750" y2="44000"/>
                        <a14:foregroundMark x1="67750" y1="44000" x2="73125" y2="38125"/>
                        <a14:foregroundMark x1="73125" y1="38125" x2="81750" y2="37125"/>
                        <a14:foregroundMark x1="81750" y1="37125" x2="77625" y2="50250"/>
                        <a14:foregroundMark x1="77625" y1="50250" x2="81750" y2="52375"/>
                        <a14:foregroundMark x1="68875" y1="31750" x2="67125" y2="43250"/>
                        <a14:foregroundMark x1="67125" y1="43250" x2="69125" y2="34625"/>
                        <a14:foregroundMark x1="78750" y1="32500" x2="75250" y2="44500"/>
                        <a14:foregroundMark x1="75250" y1="44500" x2="79875" y2="36750"/>
                        <a14:foregroundMark x1="79875" y1="36750" x2="76875" y2="36375"/>
                        <a14:foregroundMark x1="78750" y1="46625" x2="80125" y2="55500"/>
                        <a14:foregroundMark x1="80125" y1="55500" x2="80750" y2="46125"/>
                        <a14:foregroundMark x1="80750" y1="46125" x2="77750" y2="45875"/>
                        <a14:foregroundMark x1="90375" y1="44000" x2="88750" y2="56375"/>
                        <a14:foregroundMark x1="45750" y1="10250" x2="57875" y2="11500"/>
                        <a14:foregroundMark x1="54125" y1="8875" x2="53500" y2="9125"/>
                        <a14:foregroundMark x1="49500" y1="90500" x2="54125" y2="89500"/>
                        <a14:foregroundMark x1="9625" y1="49625" x2="11000" y2="47125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3256" t="7288" r="7881" b="3666"/>
          <a:stretch>
            <a:fillRect/>
          </a:stretch>
        </p:blipFill>
        <p:spPr bwMode="auto">
          <a:xfrm>
            <a:off x="11238614" y="5890437"/>
            <a:ext cx="733648" cy="7351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Imagem 6" descr="Tela de um aparelho celular&#10;&#10;O conteúdo gerado por IA pode estar incorreto.">
            <a:extLst>
              <a:ext uri="{FF2B5EF4-FFF2-40B4-BE49-F238E27FC236}">
                <a16:creationId xmlns:a16="http://schemas.microsoft.com/office/drawing/2014/main" id="{7BBBFA8D-2B69-E9A9-D285-3FFE635B2E46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ackgroundRemoval t="5381" b="92377" l="9091" r="89773">
                        <a14:foregroundMark x1="42614" y1="5605" x2="50568" y2="7623"/>
                        <a14:foregroundMark x1="39773" y1="90359" x2="50568" y2="92377"/>
                      </a14:backgroundRemoval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0643766" y="201916"/>
            <a:ext cx="531430" cy="1346692"/>
          </a:xfrm>
          <a:prstGeom prst="roundRect">
            <a:avLst>
              <a:gd name="adj" fmla="val 11213"/>
            </a:avLst>
          </a:prstGeom>
          <a:effectLst>
            <a:glow rad="139700">
              <a:schemeClr val="bg1">
                <a:lumMod val="95000"/>
                <a:alpha val="40000"/>
              </a:schemeClr>
            </a:glow>
          </a:effectLst>
        </p:spPr>
      </p:pic>
      <p:sp>
        <p:nvSpPr>
          <p:cNvPr id="8" name="CaixaDeTexto 7">
            <a:extLst>
              <a:ext uri="{FF2B5EF4-FFF2-40B4-BE49-F238E27FC236}">
                <a16:creationId xmlns:a16="http://schemas.microsoft.com/office/drawing/2014/main" id="{A8003D1F-9AFD-9B6D-A7E5-B61B5E33CDB4}"/>
              </a:ext>
            </a:extLst>
          </p:cNvPr>
          <p:cNvSpPr txBox="1"/>
          <p:nvPr/>
        </p:nvSpPr>
        <p:spPr>
          <a:xfrm>
            <a:off x="8327286" y="489134"/>
            <a:ext cx="270256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sz="1800" b="1" i="0" u="none" strike="noStrike" baseline="0" dirty="0">
                <a:solidFill>
                  <a:schemeClr val="bg1"/>
                </a:solidFill>
                <a:latin typeface="Candara" panose="020E0502030303020204" pitchFamily="34" charset="0"/>
              </a:rPr>
              <a:t>Fechadura Eletrônica </a:t>
            </a:r>
            <a:endParaRPr lang="pt-BR" dirty="0">
              <a:solidFill>
                <a:schemeClr val="bg1"/>
              </a:solidFill>
              <a:latin typeface="Candara" panose="020E0502030303020204" pitchFamily="34" charset="0"/>
            </a:endParaRPr>
          </a:p>
        </p:txBody>
      </p:sp>
      <p:pic>
        <p:nvPicPr>
          <p:cNvPr id="9" name="Imagem 8" descr="Controle remoto preto sobre fundo branco&#10;&#10;O conteúdo gerado por IA pode estar incorreto.">
            <a:extLst>
              <a:ext uri="{FF2B5EF4-FFF2-40B4-BE49-F238E27FC236}">
                <a16:creationId xmlns:a16="http://schemas.microsoft.com/office/drawing/2014/main" id="{CD0C2E13-DC6A-7964-FC58-979F1257FD04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ackgroundRemoval t="4144" b="97652" l="9071" r="95248">
                        <a14:foregroundMark x1="23110" y1="65746" x2="18575" y2="92541"/>
                        <a14:foregroundMark x1="22462" y1="97928" x2="25054" y2="97928"/>
                        <a14:foregroundMark x1="26998" y1="7873" x2="19870" y2="7044"/>
                        <a14:foregroundMark x1="95464" y1="50000" x2="88985" y2="52486"/>
                        <a14:foregroundMark x1="29590" y1="4144" x2="23758" y2="5801"/>
                      </a14:backgroundRemoval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1278996" y="212076"/>
            <a:ext cx="826737" cy="1292781"/>
          </a:xfrm>
          <a:prstGeom prst="rect">
            <a:avLst/>
          </a:prstGeom>
          <a:effectLst>
            <a:glow rad="63500">
              <a:schemeClr val="bg1">
                <a:lumMod val="95000"/>
                <a:alpha val="40000"/>
              </a:schemeClr>
            </a:glow>
          </a:effectLst>
        </p:spPr>
      </p:pic>
      <p:pic>
        <p:nvPicPr>
          <p:cNvPr id="4" name="Imagem 3" descr="Interface gráfica do usuário&#10;&#10;O conteúdo gerado por IA pode estar incorreto.">
            <a:extLst>
              <a:ext uri="{FF2B5EF4-FFF2-40B4-BE49-F238E27FC236}">
                <a16:creationId xmlns:a16="http://schemas.microsoft.com/office/drawing/2014/main" id="{B6107A04-0FA9-6130-541D-8EF30CFD11A7}"/>
              </a:ext>
            </a:extLst>
          </p:cNvPr>
          <p:cNvPicPr>
            <a:picLocks noChangeAspect="1"/>
          </p:cNvPicPr>
          <p:nvPr/>
        </p:nvPicPr>
        <p:blipFill>
          <a:blip r:embed="rId10"/>
          <a:srcRect t="1888"/>
          <a:stretch>
            <a:fillRect/>
          </a:stretch>
        </p:blipFill>
        <p:spPr>
          <a:xfrm>
            <a:off x="798414" y="1330960"/>
            <a:ext cx="9216538" cy="5110480"/>
          </a:xfrm>
          <a:prstGeom prst="roundRect">
            <a:avLst>
              <a:gd name="adj" fmla="val 3575"/>
            </a:avLst>
          </a:prstGeom>
        </p:spPr>
      </p:pic>
    </p:spTree>
    <p:extLst>
      <p:ext uri="{BB962C8B-B14F-4D97-AF65-F5344CB8AC3E}">
        <p14:creationId xmlns:p14="http://schemas.microsoft.com/office/powerpoint/2010/main" val="3273419049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609512A8-2E98-A713-9D05-4D0CD4FF354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m 2" descr="Interface gráfica do usuário&#10;&#10;O conteúdo gerado por IA pode estar incorreto.">
            <a:extLst>
              <a:ext uri="{FF2B5EF4-FFF2-40B4-BE49-F238E27FC236}">
                <a16:creationId xmlns:a16="http://schemas.microsoft.com/office/drawing/2014/main" id="{EBB546EE-E319-85B0-7F3A-A577A21A93B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6447" y="248306"/>
            <a:ext cx="1371600" cy="561358"/>
          </a:xfrm>
          <a:prstGeom prst="rect">
            <a:avLst/>
          </a:prstGeom>
        </p:spPr>
      </p:pic>
      <p:pic>
        <p:nvPicPr>
          <p:cNvPr id="1026" name="Picture 2" descr="logo claro PNG &amp; clipart images | Citypng">
            <a:extLst>
              <a:ext uri="{FF2B5EF4-FFF2-40B4-BE49-F238E27FC236}">
                <a16:creationId xmlns:a16="http://schemas.microsoft.com/office/drawing/2014/main" id="{F8AA103B-491B-433D-8667-4DEB7A9EAA27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ackgroundRemoval t="8875" b="90500" l="9625" r="90375">
                        <a14:foregroundMark x1="35125" y1="42750" x2="35125" y2="42750"/>
                        <a14:foregroundMark x1="35250" y1="45125" x2="33750" y2="54125"/>
                        <a14:foregroundMark x1="33750" y1="54125" x2="41375" y2="48750"/>
                        <a14:foregroundMark x1="41375" y1="48750" x2="36875" y2="40375"/>
                        <a14:foregroundMark x1="36875" y1="40375" x2="31375" y2="43625"/>
                        <a14:foregroundMark x1="22000" y1="41875" x2="12375" y2="50500"/>
                        <a14:foregroundMark x1="12375" y1="50500" x2="25625" y2="62375"/>
                        <a14:foregroundMark x1="25625" y1="62375" x2="52750" y2="64125"/>
                        <a14:foregroundMark x1="52750" y1="64125" x2="73500" y2="62500"/>
                        <a14:foregroundMark x1="73500" y1="62500" x2="87375" y2="56375"/>
                        <a14:foregroundMark x1="87375" y1="56375" x2="87125" y2="45625"/>
                        <a14:foregroundMark x1="87125" y1="45625" x2="84625" y2="37625"/>
                        <a14:foregroundMark x1="84625" y1="37625" x2="76500" y2="32125"/>
                        <a14:foregroundMark x1="76500" y1="32125" x2="57500" y2="27250"/>
                        <a14:foregroundMark x1="57500" y1="27250" x2="20250" y2="28750"/>
                        <a14:foregroundMark x1="20250" y1="28750" x2="15750" y2="38375"/>
                        <a14:foregroundMark x1="15750" y1="38375" x2="12250" y2="41125"/>
                        <a14:foregroundMark x1="28375" y1="36125" x2="17625" y2="48125"/>
                        <a14:foregroundMark x1="17625" y1="48125" x2="23875" y2="57625"/>
                        <a14:foregroundMark x1="23875" y1="57625" x2="34500" y2="44000"/>
                        <a14:foregroundMark x1="34500" y1="44000" x2="21250" y2="39375"/>
                        <a14:foregroundMark x1="21250" y1="39375" x2="19250" y2="41250"/>
                        <a14:foregroundMark x1="26250" y1="40250" x2="27375" y2="52750"/>
                        <a14:foregroundMark x1="27375" y1="52750" x2="28875" y2="40125"/>
                        <a14:foregroundMark x1="28875" y1="40125" x2="18750" y2="45500"/>
                        <a14:foregroundMark x1="18750" y1="45500" x2="20750" y2="48625"/>
                        <a14:foregroundMark x1="26875" y1="40625" x2="27375" y2="58250"/>
                        <a14:foregroundMark x1="27375" y1="58250" x2="30625" y2="48375"/>
                        <a14:foregroundMark x1="30625" y1="48375" x2="20375" y2="51125"/>
                        <a14:foregroundMark x1="20375" y1="51125" x2="20375" y2="52375"/>
                        <a14:foregroundMark x1="19125" y1="42500" x2="25500" y2="55125"/>
                        <a14:foregroundMark x1="25500" y1="55125" x2="25125" y2="59500"/>
                        <a14:foregroundMark x1="22250" y1="56750" x2="21750" y2="58125"/>
                        <a14:foregroundMark x1="38500" y1="39875" x2="29750" y2="53250"/>
                        <a14:foregroundMark x1="29750" y1="53250" x2="34875" y2="62125"/>
                        <a14:foregroundMark x1="34875" y1="62125" x2="39750" y2="49375"/>
                        <a14:foregroundMark x1="39750" y1="49375" x2="36125" y2="43000"/>
                        <a14:foregroundMark x1="43375" y1="42375" x2="41000" y2="60750"/>
                        <a14:foregroundMark x1="41000" y1="60750" x2="51625" y2="47750"/>
                        <a14:foregroundMark x1="51625" y1="47750" x2="43375" y2="46875"/>
                        <a14:foregroundMark x1="43375" y1="46875" x2="41375" y2="48000"/>
                        <a14:foregroundMark x1="47125" y1="50750" x2="48375" y2="59000"/>
                        <a14:foregroundMark x1="48375" y1="59000" x2="45125" y2="53500"/>
                        <a14:foregroundMark x1="53625" y1="43250" x2="52125" y2="50125"/>
                        <a14:foregroundMark x1="52125" y1="50125" x2="54125" y2="58375"/>
                        <a14:foregroundMark x1="54125" y1="58375" x2="58125" y2="50500"/>
                        <a14:foregroundMark x1="58125" y1="50500" x2="53250" y2="45125"/>
                        <a14:foregroundMark x1="53250" y1="45125" x2="51500" y2="45375"/>
                        <a14:foregroundMark x1="58625" y1="42000" x2="59750" y2="52125"/>
                        <a14:foregroundMark x1="59750" y1="52125" x2="57750" y2="45000"/>
                        <a14:foregroundMark x1="63000" y1="45375" x2="61000" y2="62375"/>
                        <a14:foregroundMark x1="61000" y1="62375" x2="73375" y2="56375"/>
                        <a14:foregroundMark x1="73375" y1="56375" x2="72000" y2="45625"/>
                        <a14:foregroundMark x1="72000" y1="45625" x2="64375" y2="43500"/>
                        <a14:foregroundMark x1="64375" y1="43500" x2="61750" y2="33375"/>
                        <a14:foregroundMark x1="61750" y1="33375" x2="72625" y2="31250"/>
                        <a14:foregroundMark x1="72625" y1="31250" x2="67750" y2="44000"/>
                        <a14:foregroundMark x1="67750" y1="44000" x2="73125" y2="38125"/>
                        <a14:foregroundMark x1="73125" y1="38125" x2="81750" y2="37125"/>
                        <a14:foregroundMark x1="81750" y1="37125" x2="77625" y2="50250"/>
                        <a14:foregroundMark x1="77625" y1="50250" x2="81750" y2="52375"/>
                        <a14:foregroundMark x1="68875" y1="31750" x2="67125" y2="43250"/>
                        <a14:foregroundMark x1="67125" y1="43250" x2="69125" y2="34625"/>
                        <a14:foregroundMark x1="78750" y1="32500" x2="75250" y2="44500"/>
                        <a14:foregroundMark x1="75250" y1="44500" x2="79875" y2="36750"/>
                        <a14:foregroundMark x1="79875" y1="36750" x2="76875" y2="36375"/>
                        <a14:foregroundMark x1="78750" y1="46625" x2="80125" y2="55500"/>
                        <a14:foregroundMark x1="80125" y1="55500" x2="80750" y2="46125"/>
                        <a14:foregroundMark x1="80750" y1="46125" x2="77750" y2="45875"/>
                        <a14:foregroundMark x1="90375" y1="44000" x2="88750" y2="56375"/>
                        <a14:foregroundMark x1="45750" y1="10250" x2="57875" y2="11500"/>
                        <a14:foregroundMark x1="54125" y1="8875" x2="53500" y2="9125"/>
                        <a14:foregroundMark x1="49500" y1="90500" x2="54125" y2="89500"/>
                        <a14:foregroundMark x1="9625" y1="49625" x2="11000" y2="47125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3256" t="7288" r="7881" b="3666"/>
          <a:stretch>
            <a:fillRect/>
          </a:stretch>
        </p:blipFill>
        <p:spPr bwMode="auto">
          <a:xfrm>
            <a:off x="11238614" y="5890437"/>
            <a:ext cx="733648" cy="7351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Imagem 6" descr="Tela de um aparelho celular&#10;&#10;O conteúdo gerado por IA pode estar incorreto.">
            <a:extLst>
              <a:ext uri="{FF2B5EF4-FFF2-40B4-BE49-F238E27FC236}">
                <a16:creationId xmlns:a16="http://schemas.microsoft.com/office/drawing/2014/main" id="{DA4D9794-5CF4-DC93-FE48-76EDC0AE75AC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ackgroundRemoval t="5381" b="92377" l="9091" r="89773">
                        <a14:foregroundMark x1="42614" y1="5605" x2="50568" y2="7623"/>
                        <a14:foregroundMark x1="39773" y1="90359" x2="50568" y2="92377"/>
                      </a14:backgroundRemoval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0643766" y="201916"/>
            <a:ext cx="531430" cy="1346692"/>
          </a:xfrm>
          <a:prstGeom prst="roundRect">
            <a:avLst>
              <a:gd name="adj" fmla="val 11213"/>
            </a:avLst>
          </a:prstGeom>
          <a:effectLst>
            <a:glow rad="139700">
              <a:schemeClr val="bg1">
                <a:lumMod val="95000"/>
                <a:alpha val="40000"/>
              </a:schemeClr>
            </a:glow>
          </a:effectLst>
        </p:spPr>
      </p:pic>
      <p:sp>
        <p:nvSpPr>
          <p:cNvPr id="8" name="CaixaDeTexto 7">
            <a:extLst>
              <a:ext uri="{FF2B5EF4-FFF2-40B4-BE49-F238E27FC236}">
                <a16:creationId xmlns:a16="http://schemas.microsoft.com/office/drawing/2014/main" id="{954114B5-D847-C5AC-6890-1137DDE8F39A}"/>
              </a:ext>
            </a:extLst>
          </p:cNvPr>
          <p:cNvSpPr txBox="1"/>
          <p:nvPr/>
        </p:nvSpPr>
        <p:spPr>
          <a:xfrm>
            <a:off x="8327286" y="489134"/>
            <a:ext cx="270256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sz="1800" b="1" i="0" u="none" strike="noStrike" baseline="0" dirty="0">
                <a:solidFill>
                  <a:schemeClr val="bg1"/>
                </a:solidFill>
                <a:latin typeface="Candara" panose="020E0502030303020204" pitchFamily="34" charset="0"/>
              </a:rPr>
              <a:t>Fechadura Eletrônica </a:t>
            </a:r>
            <a:endParaRPr lang="pt-BR" dirty="0">
              <a:solidFill>
                <a:schemeClr val="bg1"/>
              </a:solidFill>
              <a:latin typeface="Candara" panose="020E0502030303020204" pitchFamily="34" charset="0"/>
            </a:endParaRPr>
          </a:p>
        </p:txBody>
      </p:sp>
      <p:pic>
        <p:nvPicPr>
          <p:cNvPr id="9" name="Imagem 8" descr="Controle remoto preto sobre fundo branco&#10;&#10;O conteúdo gerado por IA pode estar incorreto.">
            <a:extLst>
              <a:ext uri="{FF2B5EF4-FFF2-40B4-BE49-F238E27FC236}">
                <a16:creationId xmlns:a16="http://schemas.microsoft.com/office/drawing/2014/main" id="{D4EC9B35-D88B-9307-7869-E36476E406DA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ackgroundRemoval t="4144" b="97652" l="9071" r="95248">
                        <a14:foregroundMark x1="23110" y1="65746" x2="18575" y2="92541"/>
                        <a14:foregroundMark x1="22462" y1="97928" x2="25054" y2="97928"/>
                        <a14:foregroundMark x1="26998" y1="7873" x2="19870" y2="7044"/>
                        <a14:foregroundMark x1="95464" y1="50000" x2="88985" y2="52486"/>
                        <a14:foregroundMark x1="29590" y1="4144" x2="23758" y2="5801"/>
                      </a14:backgroundRemoval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1278996" y="212076"/>
            <a:ext cx="826737" cy="1292781"/>
          </a:xfrm>
          <a:prstGeom prst="rect">
            <a:avLst/>
          </a:prstGeom>
          <a:effectLst>
            <a:glow rad="63500">
              <a:schemeClr val="bg1">
                <a:lumMod val="95000"/>
                <a:alpha val="40000"/>
              </a:schemeClr>
            </a:glow>
          </a:effectLst>
        </p:spPr>
      </p:pic>
      <p:pic>
        <p:nvPicPr>
          <p:cNvPr id="5" name="Imagem 4" descr="Interface gráfica do usuário&#10;&#10;O conteúdo gerado por IA pode estar incorreto.">
            <a:extLst>
              <a:ext uri="{FF2B5EF4-FFF2-40B4-BE49-F238E27FC236}">
                <a16:creationId xmlns:a16="http://schemas.microsoft.com/office/drawing/2014/main" id="{395D27E4-42AE-8DF0-5292-A5C286498074}"/>
              </a:ext>
            </a:extLst>
          </p:cNvPr>
          <p:cNvPicPr>
            <a:picLocks noChangeAspect="1"/>
          </p:cNvPicPr>
          <p:nvPr/>
        </p:nvPicPr>
        <p:blipFill>
          <a:blip r:embed="rId10"/>
          <a:srcRect l="6144" t="1482" r="561"/>
          <a:stretch>
            <a:fillRect/>
          </a:stretch>
        </p:blipFill>
        <p:spPr>
          <a:xfrm>
            <a:off x="448917" y="1096882"/>
            <a:ext cx="9036609" cy="5383653"/>
          </a:xfrm>
          <a:prstGeom prst="roundRect">
            <a:avLst>
              <a:gd name="adj" fmla="val 878"/>
            </a:avLst>
          </a:prstGeom>
        </p:spPr>
      </p:pic>
    </p:spTree>
    <p:extLst>
      <p:ext uri="{BB962C8B-B14F-4D97-AF65-F5344CB8AC3E}">
        <p14:creationId xmlns:p14="http://schemas.microsoft.com/office/powerpoint/2010/main" val="90199597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9866B23A-A387-297D-8EC5-977B525DC15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m 2" descr="Interface gráfica do usuário&#10;&#10;O conteúdo gerado por IA pode estar incorreto.">
            <a:extLst>
              <a:ext uri="{FF2B5EF4-FFF2-40B4-BE49-F238E27FC236}">
                <a16:creationId xmlns:a16="http://schemas.microsoft.com/office/drawing/2014/main" id="{2D331CDB-AA18-1678-6EE6-CC7F40C3A9D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6447" y="248306"/>
            <a:ext cx="1371600" cy="561358"/>
          </a:xfrm>
          <a:prstGeom prst="rect">
            <a:avLst/>
          </a:prstGeom>
        </p:spPr>
      </p:pic>
      <p:pic>
        <p:nvPicPr>
          <p:cNvPr id="1026" name="Picture 2" descr="logo claro PNG &amp; clipart images | Citypng">
            <a:extLst>
              <a:ext uri="{FF2B5EF4-FFF2-40B4-BE49-F238E27FC236}">
                <a16:creationId xmlns:a16="http://schemas.microsoft.com/office/drawing/2014/main" id="{2D761508-569B-8C54-0545-CD8D8DBACF8B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ackgroundRemoval t="8875" b="90500" l="9625" r="90375">
                        <a14:foregroundMark x1="35125" y1="42750" x2="35125" y2="42750"/>
                        <a14:foregroundMark x1="35250" y1="45125" x2="33750" y2="54125"/>
                        <a14:foregroundMark x1="33750" y1="54125" x2="41375" y2="48750"/>
                        <a14:foregroundMark x1="41375" y1="48750" x2="36875" y2="40375"/>
                        <a14:foregroundMark x1="36875" y1="40375" x2="31375" y2="43625"/>
                        <a14:foregroundMark x1="22000" y1="41875" x2="12375" y2="50500"/>
                        <a14:foregroundMark x1="12375" y1="50500" x2="25625" y2="62375"/>
                        <a14:foregroundMark x1="25625" y1="62375" x2="52750" y2="64125"/>
                        <a14:foregroundMark x1="52750" y1="64125" x2="73500" y2="62500"/>
                        <a14:foregroundMark x1="73500" y1="62500" x2="87375" y2="56375"/>
                        <a14:foregroundMark x1="87375" y1="56375" x2="87125" y2="45625"/>
                        <a14:foregroundMark x1="87125" y1="45625" x2="84625" y2="37625"/>
                        <a14:foregroundMark x1="84625" y1="37625" x2="76500" y2="32125"/>
                        <a14:foregroundMark x1="76500" y1="32125" x2="57500" y2="27250"/>
                        <a14:foregroundMark x1="57500" y1="27250" x2="20250" y2="28750"/>
                        <a14:foregroundMark x1="20250" y1="28750" x2="15750" y2="38375"/>
                        <a14:foregroundMark x1="15750" y1="38375" x2="12250" y2="41125"/>
                        <a14:foregroundMark x1="28375" y1="36125" x2="17625" y2="48125"/>
                        <a14:foregroundMark x1="17625" y1="48125" x2="23875" y2="57625"/>
                        <a14:foregroundMark x1="23875" y1="57625" x2="34500" y2="44000"/>
                        <a14:foregroundMark x1="34500" y1="44000" x2="21250" y2="39375"/>
                        <a14:foregroundMark x1="21250" y1="39375" x2="19250" y2="41250"/>
                        <a14:foregroundMark x1="26250" y1="40250" x2="27375" y2="52750"/>
                        <a14:foregroundMark x1="27375" y1="52750" x2="28875" y2="40125"/>
                        <a14:foregroundMark x1="28875" y1="40125" x2="18750" y2="45500"/>
                        <a14:foregroundMark x1="18750" y1="45500" x2="20750" y2="48625"/>
                        <a14:foregroundMark x1="26875" y1="40625" x2="27375" y2="58250"/>
                        <a14:foregroundMark x1="27375" y1="58250" x2="30625" y2="48375"/>
                        <a14:foregroundMark x1="30625" y1="48375" x2="20375" y2="51125"/>
                        <a14:foregroundMark x1="20375" y1="51125" x2="20375" y2="52375"/>
                        <a14:foregroundMark x1="19125" y1="42500" x2="25500" y2="55125"/>
                        <a14:foregroundMark x1="25500" y1="55125" x2="25125" y2="59500"/>
                        <a14:foregroundMark x1="22250" y1="56750" x2="21750" y2="58125"/>
                        <a14:foregroundMark x1="38500" y1="39875" x2="29750" y2="53250"/>
                        <a14:foregroundMark x1="29750" y1="53250" x2="34875" y2="62125"/>
                        <a14:foregroundMark x1="34875" y1="62125" x2="39750" y2="49375"/>
                        <a14:foregroundMark x1="39750" y1="49375" x2="36125" y2="43000"/>
                        <a14:foregroundMark x1="43375" y1="42375" x2="41000" y2="60750"/>
                        <a14:foregroundMark x1="41000" y1="60750" x2="51625" y2="47750"/>
                        <a14:foregroundMark x1="51625" y1="47750" x2="43375" y2="46875"/>
                        <a14:foregroundMark x1="43375" y1="46875" x2="41375" y2="48000"/>
                        <a14:foregroundMark x1="47125" y1="50750" x2="48375" y2="59000"/>
                        <a14:foregroundMark x1="48375" y1="59000" x2="45125" y2="53500"/>
                        <a14:foregroundMark x1="53625" y1="43250" x2="52125" y2="50125"/>
                        <a14:foregroundMark x1="52125" y1="50125" x2="54125" y2="58375"/>
                        <a14:foregroundMark x1="54125" y1="58375" x2="58125" y2="50500"/>
                        <a14:foregroundMark x1="58125" y1="50500" x2="53250" y2="45125"/>
                        <a14:foregroundMark x1="53250" y1="45125" x2="51500" y2="45375"/>
                        <a14:foregroundMark x1="58625" y1="42000" x2="59750" y2="52125"/>
                        <a14:foregroundMark x1="59750" y1="52125" x2="57750" y2="45000"/>
                        <a14:foregroundMark x1="63000" y1="45375" x2="61000" y2="62375"/>
                        <a14:foregroundMark x1="61000" y1="62375" x2="73375" y2="56375"/>
                        <a14:foregroundMark x1="73375" y1="56375" x2="72000" y2="45625"/>
                        <a14:foregroundMark x1="72000" y1="45625" x2="64375" y2="43500"/>
                        <a14:foregroundMark x1="64375" y1="43500" x2="61750" y2="33375"/>
                        <a14:foregroundMark x1="61750" y1="33375" x2="72625" y2="31250"/>
                        <a14:foregroundMark x1="72625" y1="31250" x2="67750" y2="44000"/>
                        <a14:foregroundMark x1="67750" y1="44000" x2="73125" y2="38125"/>
                        <a14:foregroundMark x1="73125" y1="38125" x2="81750" y2="37125"/>
                        <a14:foregroundMark x1="81750" y1="37125" x2="77625" y2="50250"/>
                        <a14:foregroundMark x1="77625" y1="50250" x2="81750" y2="52375"/>
                        <a14:foregroundMark x1="68875" y1="31750" x2="67125" y2="43250"/>
                        <a14:foregroundMark x1="67125" y1="43250" x2="69125" y2="34625"/>
                        <a14:foregroundMark x1="78750" y1="32500" x2="75250" y2="44500"/>
                        <a14:foregroundMark x1="75250" y1="44500" x2="79875" y2="36750"/>
                        <a14:foregroundMark x1="79875" y1="36750" x2="76875" y2="36375"/>
                        <a14:foregroundMark x1="78750" y1="46625" x2="80125" y2="55500"/>
                        <a14:foregroundMark x1="80125" y1="55500" x2="80750" y2="46125"/>
                        <a14:foregroundMark x1="80750" y1="46125" x2="77750" y2="45875"/>
                        <a14:foregroundMark x1="90375" y1="44000" x2="88750" y2="56375"/>
                        <a14:foregroundMark x1="45750" y1="10250" x2="57875" y2="11500"/>
                        <a14:foregroundMark x1="54125" y1="8875" x2="53500" y2="9125"/>
                        <a14:foregroundMark x1="49500" y1="90500" x2="54125" y2="89500"/>
                        <a14:foregroundMark x1="9625" y1="49625" x2="11000" y2="47125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3256" t="7288" r="7881" b="3666"/>
          <a:stretch>
            <a:fillRect/>
          </a:stretch>
        </p:blipFill>
        <p:spPr bwMode="auto">
          <a:xfrm>
            <a:off x="11238614" y="5890437"/>
            <a:ext cx="733648" cy="7351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Imagem 4" descr="Uma imagem contendo pessoa, homem, segurando, mão&#10;&#10;O conteúdo gerado por IA pode estar incorreto.">
            <a:extLst>
              <a:ext uri="{FF2B5EF4-FFF2-40B4-BE49-F238E27FC236}">
                <a16:creationId xmlns:a16="http://schemas.microsoft.com/office/drawing/2014/main" id="{0567DCE2-E289-112F-5290-4DB8B9019D50}"/>
              </a:ext>
            </a:extLst>
          </p:cNvPr>
          <p:cNvPicPr>
            <a:picLocks noChangeAspect="1"/>
          </p:cNvPicPr>
          <p:nvPr/>
        </p:nvPicPr>
        <p:blipFill>
          <a:blip r:embed="rId6"/>
          <a:srcRect t="6446" r="1791" b="6446"/>
          <a:stretch>
            <a:fillRect/>
          </a:stretch>
        </p:blipFill>
        <p:spPr>
          <a:xfrm>
            <a:off x="411580" y="1391380"/>
            <a:ext cx="9770810" cy="5069840"/>
          </a:xfrm>
          <a:prstGeom prst="roundRect">
            <a:avLst>
              <a:gd name="adj" fmla="val 10655"/>
            </a:avLst>
          </a:prstGeom>
        </p:spPr>
      </p:pic>
      <p:pic>
        <p:nvPicPr>
          <p:cNvPr id="7" name="Imagem 6" descr="Tela de um aparelho celular&#10;&#10;O conteúdo gerado por IA pode estar incorreto.">
            <a:extLst>
              <a:ext uri="{FF2B5EF4-FFF2-40B4-BE49-F238E27FC236}">
                <a16:creationId xmlns:a16="http://schemas.microsoft.com/office/drawing/2014/main" id="{2CE65CC8-0179-DCB7-40C4-C4212EE6AB47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ackgroundRemoval t="5381" b="92377" l="9091" r="89773">
                        <a14:foregroundMark x1="42614" y1="5605" x2="50568" y2="7623"/>
                        <a14:foregroundMark x1="39773" y1="90359" x2="50568" y2="92377"/>
                      </a14:backgroundRemoval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0643766" y="212076"/>
            <a:ext cx="531430" cy="1346692"/>
          </a:xfrm>
          <a:prstGeom prst="roundRect">
            <a:avLst>
              <a:gd name="adj" fmla="val 11213"/>
            </a:avLst>
          </a:prstGeom>
          <a:effectLst>
            <a:glow rad="139700">
              <a:schemeClr val="bg1">
                <a:lumMod val="95000"/>
                <a:alpha val="40000"/>
              </a:schemeClr>
            </a:glow>
          </a:effectLst>
        </p:spPr>
      </p:pic>
      <p:sp>
        <p:nvSpPr>
          <p:cNvPr id="8" name="CaixaDeTexto 7">
            <a:extLst>
              <a:ext uri="{FF2B5EF4-FFF2-40B4-BE49-F238E27FC236}">
                <a16:creationId xmlns:a16="http://schemas.microsoft.com/office/drawing/2014/main" id="{0A6B8F57-FFF3-8CF4-C190-B733B0994E7C}"/>
              </a:ext>
            </a:extLst>
          </p:cNvPr>
          <p:cNvSpPr txBox="1"/>
          <p:nvPr/>
        </p:nvSpPr>
        <p:spPr>
          <a:xfrm>
            <a:off x="8327286" y="489134"/>
            <a:ext cx="270256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sz="1800" b="1" i="0" u="none" strike="noStrike" baseline="0" dirty="0">
                <a:solidFill>
                  <a:schemeClr val="bg1"/>
                </a:solidFill>
                <a:latin typeface="Candara" panose="020E0502030303020204" pitchFamily="34" charset="0"/>
              </a:rPr>
              <a:t>Fechadura Eletrônica </a:t>
            </a:r>
            <a:endParaRPr lang="pt-BR" dirty="0">
              <a:solidFill>
                <a:schemeClr val="bg1"/>
              </a:solidFill>
              <a:latin typeface="Candara" panose="020E0502030303020204" pitchFamily="34" charset="0"/>
            </a:endParaRPr>
          </a:p>
        </p:txBody>
      </p:sp>
      <p:pic>
        <p:nvPicPr>
          <p:cNvPr id="9" name="Imagem 8" descr="Controle remoto preto sobre fundo branco&#10;&#10;O conteúdo gerado por IA pode estar incorreto.">
            <a:extLst>
              <a:ext uri="{FF2B5EF4-FFF2-40B4-BE49-F238E27FC236}">
                <a16:creationId xmlns:a16="http://schemas.microsoft.com/office/drawing/2014/main" id="{66DC9A7E-B036-52FC-725B-786107961545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backgroundRemoval t="4144" b="97652" l="9071" r="95248">
                        <a14:foregroundMark x1="23110" y1="65746" x2="18575" y2="92541"/>
                        <a14:foregroundMark x1="22462" y1="97928" x2="25054" y2="97928"/>
                        <a14:foregroundMark x1="26998" y1="7873" x2="19870" y2="7044"/>
                        <a14:foregroundMark x1="95464" y1="50000" x2="88985" y2="52486"/>
                        <a14:foregroundMark x1="29590" y1="4144" x2="23758" y2="5801"/>
                      </a14:backgroundRemoval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1278996" y="212076"/>
            <a:ext cx="826737" cy="1292781"/>
          </a:xfrm>
          <a:prstGeom prst="rect">
            <a:avLst/>
          </a:prstGeom>
          <a:effectLst>
            <a:glow rad="63500">
              <a:schemeClr val="bg1">
                <a:lumMod val="95000"/>
                <a:alpha val="40000"/>
              </a:schemeClr>
            </a:glow>
          </a:effectLst>
        </p:spPr>
      </p:pic>
    </p:spTree>
    <p:extLst>
      <p:ext uri="{BB962C8B-B14F-4D97-AF65-F5344CB8AC3E}">
        <p14:creationId xmlns:p14="http://schemas.microsoft.com/office/powerpoint/2010/main" val="1357020725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7D9DAF3C-1239-DD37-BD79-3C33E49B56F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m 2" descr="Interface gráfica do usuário&#10;&#10;O conteúdo gerado por IA pode estar incorreto.">
            <a:extLst>
              <a:ext uri="{FF2B5EF4-FFF2-40B4-BE49-F238E27FC236}">
                <a16:creationId xmlns:a16="http://schemas.microsoft.com/office/drawing/2014/main" id="{C2319EF6-BE04-07D7-06CB-422C0824CE4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6447" y="248306"/>
            <a:ext cx="1371600" cy="561358"/>
          </a:xfrm>
          <a:prstGeom prst="rect">
            <a:avLst/>
          </a:prstGeom>
        </p:spPr>
      </p:pic>
      <p:pic>
        <p:nvPicPr>
          <p:cNvPr id="1026" name="Picture 2" descr="logo claro PNG &amp; clipart images | Citypng">
            <a:extLst>
              <a:ext uri="{FF2B5EF4-FFF2-40B4-BE49-F238E27FC236}">
                <a16:creationId xmlns:a16="http://schemas.microsoft.com/office/drawing/2014/main" id="{803E82F0-27B0-AC6C-9FCE-5ACB46BC75AA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ackgroundRemoval t="8875" b="90500" l="9625" r="90375">
                        <a14:foregroundMark x1="35125" y1="42750" x2="35125" y2="42750"/>
                        <a14:foregroundMark x1="35250" y1="45125" x2="33750" y2="54125"/>
                        <a14:foregroundMark x1="33750" y1="54125" x2="41375" y2="48750"/>
                        <a14:foregroundMark x1="41375" y1="48750" x2="36875" y2="40375"/>
                        <a14:foregroundMark x1="36875" y1="40375" x2="31375" y2="43625"/>
                        <a14:foregroundMark x1="22000" y1="41875" x2="12375" y2="50500"/>
                        <a14:foregroundMark x1="12375" y1="50500" x2="25625" y2="62375"/>
                        <a14:foregroundMark x1="25625" y1="62375" x2="52750" y2="64125"/>
                        <a14:foregroundMark x1="52750" y1="64125" x2="73500" y2="62500"/>
                        <a14:foregroundMark x1="73500" y1="62500" x2="87375" y2="56375"/>
                        <a14:foregroundMark x1="87375" y1="56375" x2="87125" y2="45625"/>
                        <a14:foregroundMark x1="87125" y1="45625" x2="84625" y2="37625"/>
                        <a14:foregroundMark x1="84625" y1="37625" x2="76500" y2="32125"/>
                        <a14:foregroundMark x1="76500" y1="32125" x2="57500" y2="27250"/>
                        <a14:foregroundMark x1="57500" y1="27250" x2="20250" y2="28750"/>
                        <a14:foregroundMark x1="20250" y1="28750" x2="15750" y2="38375"/>
                        <a14:foregroundMark x1="15750" y1="38375" x2="12250" y2="41125"/>
                        <a14:foregroundMark x1="28375" y1="36125" x2="17625" y2="48125"/>
                        <a14:foregroundMark x1="17625" y1="48125" x2="23875" y2="57625"/>
                        <a14:foregroundMark x1="23875" y1="57625" x2="34500" y2="44000"/>
                        <a14:foregroundMark x1="34500" y1="44000" x2="21250" y2="39375"/>
                        <a14:foregroundMark x1="21250" y1="39375" x2="19250" y2="41250"/>
                        <a14:foregroundMark x1="26250" y1="40250" x2="27375" y2="52750"/>
                        <a14:foregroundMark x1="27375" y1="52750" x2="28875" y2="40125"/>
                        <a14:foregroundMark x1="28875" y1="40125" x2="18750" y2="45500"/>
                        <a14:foregroundMark x1="18750" y1="45500" x2="20750" y2="48625"/>
                        <a14:foregroundMark x1="26875" y1="40625" x2="27375" y2="58250"/>
                        <a14:foregroundMark x1="27375" y1="58250" x2="30625" y2="48375"/>
                        <a14:foregroundMark x1="30625" y1="48375" x2="20375" y2="51125"/>
                        <a14:foregroundMark x1="20375" y1="51125" x2="20375" y2="52375"/>
                        <a14:foregroundMark x1="19125" y1="42500" x2="25500" y2="55125"/>
                        <a14:foregroundMark x1="25500" y1="55125" x2="25125" y2="59500"/>
                        <a14:foregroundMark x1="22250" y1="56750" x2="21750" y2="58125"/>
                        <a14:foregroundMark x1="38500" y1="39875" x2="29750" y2="53250"/>
                        <a14:foregroundMark x1="29750" y1="53250" x2="34875" y2="62125"/>
                        <a14:foregroundMark x1="34875" y1="62125" x2="39750" y2="49375"/>
                        <a14:foregroundMark x1="39750" y1="49375" x2="36125" y2="43000"/>
                        <a14:foregroundMark x1="43375" y1="42375" x2="41000" y2="60750"/>
                        <a14:foregroundMark x1="41000" y1="60750" x2="51625" y2="47750"/>
                        <a14:foregroundMark x1="51625" y1="47750" x2="43375" y2="46875"/>
                        <a14:foregroundMark x1="43375" y1="46875" x2="41375" y2="48000"/>
                        <a14:foregroundMark x1="47125" y1="50750" x2="48375" y2="59000"/>
                        <a14:foregroundMark x1="48375" y1="59000" x2="45125" y2="53500"/>
                        <a14:foregroundMark x1="53625" y1="43250" x2="52125" y2="50125"/>
                        <a14:foregroundMark x1="52125" y1="50125" x2="54125" y2="58375"/>
                        <a14:foregroundMark x1="54125" y1="58375" x2="58125" y2="50500"/>
                        <a14:foregroundMark x1="58125" y1="50500" x2="53250" y2="45125"/>
                        <a14:foregroundMark x1="53250" y1="45125" x2="51500" y2="45375"/>
                        <a14:foregroundMark x1="58625" y1="42000" x2="59750" y2="52125"/>
                        <a14:foregroundMark x1="59750" y1="52125" x2="57750" y2="45000"/>
                        <a14:foregroundMark x1="63000" y1="45375" x2="61000" y2="62375"/>
                        <a14:foregroundMark x1="61000" y1="62375" x2="73375" y2="56375"/>
                        <a14:foregroundMark x1="73375" y1="56375" x2="72000" y2="45625"/>
                        <a14:foregroundMark x1="72000" y1="45625" x2="64375" y2="43500"/>
                        <a14:foregroundMark x1="64375" y1="43500" x2="61750" y2="33375"/>
                        <a14:foregroundMark x1="61750" y1="33375" x2="72625" y2="31250"/>
                        <a14:foregroundMark x1="72625" y1="31250" x2="67750" y2="44000"/>
                        <a14:foregroundMark x1="67750" y1="44000" x2="73125" y2="38125"/>
                        <a14:foregroundMark x1="73125" y1="38125" x2="81750" y2="37125"/>
                        <a14:foregroundMark x1="81750" y1="37125" x2="77625" y2="50250"/>
                        <a14:foregroundMark x1="77625" y1="50250" x2="81750" y2="52375"/>
                        <a14:foregroundMark x1="68875" y1="31750" x2="67125" y2="43250"/>
                        <a14:foregroundMark x1="67125" y1="43250" x2="69125" y2="34625"/>
                        <a14:foregroundMark x1="78750" y1="32500" x2="75250" y2="44500"/>
                        <a14:foregroundMark x1="75250" y1="44500" x2="79875" y2="36750"/>
                        <a14:foregroundMark x1="79875" y1="36750" x2="76875" y2="36375"/>
                        <a14:foregroundMark x1="78750" y1="46625" x2="80125" y2="55500"/>
                        <a14:foregroundMark x1="80125" y1="55500" x2="80750" y2="46125"/>
                        <a14:foregroundMark x1="80750" y1="46125" x2="77750" y2="45875"/>
                        <a14:foregroundMark x1="90375" y1="44000" x2="88750" y2="56375"/>
                        <a14:foregroundMark x1="45750" y1="10250" x2="57875" y2="11500"/>
                        <a14:foregroundMark x1="54125" y1="8875" x2="53500" y2="9125"/>
                        <a14:foregroundMark x1="49500" y1="90500" x2="54125" y2="89500"/>
                        <a14:foregroundMark x1="9625" y1="49625" x2="11000" y2="47125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3256" t="7288" r="7881" b="3666"/>
          <a:stretch>
            <a:fillRect/>
          </a:stretch>
        </p:blipFill>
        <p:spPr bwMode="auto">
          <a:xfrm>
            <a:off x="11238614" y="5890437"/>
            <a:ext cx="733648" cy="7351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Imagem 6" descr="Tela de um aparelho celular&#10;&#10;O conteúdo gerado por IA pode estar incorreto.">
            <a:extLst>
              <a:ext uri="{FF2B5EF4-FFF2-40B4-BE49-F238E27FC236}">
                <a16:creationId xmlns:a16="http://schemas.microsoft.com/office/drawing/2014/main" id="{3766DD97-6B0C-3091-F0C1-AA69B917F956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ackgroundRemoval t="5381" b="92377" l="9091" r="89773">
                        <a14:foregroundMark x1="42614" y1="5605" x2="50568" y2="7623"/>
                        <a14:foregroundMark x1="39773" y1="90359" x2="50568" y2="92377"/>
                      </a14:backgroundRemoval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0942584" y="212076"/>
            <a:ext cx="405449" cy="1027444"/>
          </a:xfrm>
          <a:prstGeom prst="roundRect">
            <a:avLst>
              <a:gd name="adj" fmla="val 11213"/>
            </a:avLst>
          </a:prstGeom>
          <a:effectLst>
            <a:glow rad="139700">
              <a:schemeClr val="bg1">
                <a:lumMod val="95000"/>
                <a:alpha val="40000"/>
              </a:schemeClr>
            </a:glow>
          </a:effectLst>
        </p:spPr>
      </p:pic>
      <p:sp>
        <p:nvSpPr>
          <p:cNvPr id="8" name="CaixaDeTexto 7">
            <a:extLst>
              <a:ext uri="{FF2B5EF4-FFF2-40B4-BE49-F238E27FC236}">
                <a16:creationId xmlns:a16="http://schemas.microsoft.com/office/drawing/2014/main" id="{E1F7B380-1B11-283E-653B-1B317390B467}"/>
              </a:ext>
            </a:extLst>
          </p:cNvPr>
          <p:cNvSpPr txBox="1"/>
          <p:nvPr/>
        </p:nvSpPr>
        <p:spPr>
          <a:xfrm>
            <a:off x="8442748" y="346060"/>
            <a:ext cx="270256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sz="1800" b="1" i="0" u="none" strike="noStrike" baseline="0" dirty="0">
                <a:solidFill>
                  <a:schemeClr val="bg1"/>
                </a:solidFill>
                <a:latin typeface="Candara" panose="020E0502030303020204" pitchFamily="34" charset="0"/>
              </a:rPr>
              <a:t>Fechadura Eletrônica </a:t>
            </a:r>
            <a:endParaRPr lang="pt-BR" dirty="0">
              <a:solidFill>
                <a:schemeClr val="bg1"/>
              </a:solidFill>
              <a:latin typeface="Candara" panose="020E0502030303020204" pitchFamily="34" charset="0"/>
            </a:endParaRPr>
          </a:p>
        </p:txBody>
      </p:sp>
      <p:pic>
        <p:nvPicPr>
          <p:cNvPr id="9" name="Imagem 8" descr="Controle remoto preto sobre fundo branco&#10;&#10;O conteúdo gerado por IA pode estar incorreto.">
            <a:extLst>
              <a:ext uri="{FF2B5EF4-FFF2-40B4-BE49-F238E27FC236}">
                <a16:creationId xmlns:a16="http://schemas.microsoft.com/office/drawing/2014/main" id="{22828128-82A2-9E60-11C0-7A36224766B1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ackgroundRemoval t="4144" b="97652" l="9071" r="95248">
                        <a14:foregroundMark x1="23110" y1="65746" x2="18575" y2="92541"/>
                        <a14:foregroundMark x1="22462" y1="97928" x2="25054" y2="97928"/>
                        <a14:foregroundMark x1="26998" y1="7873" x2="19870" y2="7044"/>
                        <a14:foregroundMark x1="95464" y1="50000" x2="88985" y2="52486"/>
                        <a14:foregroundMark x1="29590" y1="4144" x2="23758" y2="5801"/>
                      </a14:backgroundRemoval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1474983" y="222236"/>
            <a:ext cx="630750" cy="986313"/>
          </a:xfrm>
          <a:prstGeom prst="rect">
            <a:avLst/>
          </a:prstGeom>
          <a:effectLst>
            <a:glow rad="63500">
              <a:schemeClr val="bg1">
                <a:lumMod val="95000"/>
                <a:alpha val="40000"/>
              </a:schemeClr>
            </a:glow>
          </a:effectLst>
        </p:spPr>
      </p:pic>
      <p:pic>
        <p:nvPicPr>
          <p:cNvPr id="4" name="Imagem 3" descr="Placa azul com letras brancas&#10;&#10;O conteúdo gerado por IA pode estar incorreto.">
            <a:extLst>
              <a:ext uri="{FF2B5EF4-FFF2-40B4-BE49-F238E27FC236}">
                <a16:creationId xmlns:a16="http://schemas.microsoft.com/office/drawing/2014/main" id="{4CBE6954-896C-F0E9-3DB0-6E3DD354BB34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527597" y="1147148"/>
            <a:ext cx="9561283" cy="5364792"/>
          </a:xfrm>
          <a:prstGeom prst="roundRect">
            <a:avLst>
              <a:gd name="adj" fmla="val 3221"/>
            </a:avLst>
          </a:prstGeom>
        </p:spPr>
      </p:pic>
    </p:spTree>
    <p:extLst>
      <p:ext uri="{BB962C8B-B14F-4D97-AF65-F5344CB8AC3E}">
        <p14:creationId xmlns:p14="http://schemas.microsoft.com/office/powerpoint/2010/main" val="166549959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05D71CFD-551F-8843-C025-4879C99C16D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m 2" descr="Interface gráfica do usuário&#10;&#10;O conteúdo gerado por IA pode estar incorreto.">
            <a:extLst>
              <a:ext uri="{FF2B5EF4-FFF2-40B4-BE49-F238E27FC236}">
                <a16:creationId xmlns:a16="http://schemas.microsoft.com/office/drawing/2014/main" id="{A6752FFD-DE80-EE1B-0228-E895D04CF7F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6447" y="248306"/>
            <a:ext cx="1371600" cy="561358"/>
          </a:xfrm>
          <a:prstGeom prst="rect">
            <a:avLst/>
          </a:prstGeom>
        </p:spPr>
      </p:pic>
      <p:pic>
        <p:nvPicPr>
          <p:cNvPr id="1026" name="Picture 2" descr="logo claro PNG &amp; clipart images | Citypng">
            <a:extLst>
              <a:ext uri="{FF2B5EF4-FFF2-40B4-BE49-F238E27FC236}">
                <a16:creationId xmlns:a16="http://schemas.microsoft.com/office/drawing/2014/main" id="{2BA2882A-C976-5171-AB21-9C435ACEC41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ackgroundRemoval t="8875" b="90500" l="9625" r="90375">
                        <a14:foregroundMark x1="35125" y1="42750" x2="35125" y2="42750"/>
                        <a14:foregroundMark x1="35250" y1="45125" x2="33750" y2="54125"/>
                        <a14:foregroundMark x1="33750" y1="54125" x2="41375" y2="48750"/>
                        <a14:foregroundMark x1="41375" y1="48750" x2="36875" y2="40375"/>
                        <a14:foregroundMark x1="36875" y1="40375" x2="31375" y2="43625"/>
                        <a14:foregroundMark x1="22000" y1="41875" x2="12375" y2="50500"/>
                        <a14:foregroundMark x1="12375" y1="50500" x2="25625" y2="62375"/>
                        <a14:foregroundMark x1="25625" y1="62375" x2="52750" y2="64125"/>
                        <a14:foregroundMark x1="52750" y1="64125" x2="73500" y2="62500"/>
                        <a14:foregroundMark x1="73500" y1="62500" x2="87375" y2="56375"/>
                        <a14:foregroundMark x1="87375" y1="56375" x2="87125" y2="45625"/>
                        <a14:foregroundMark x1="87125" y1="45625" x2="84625" y2="37625"/>
                        <a14:foregroundMark x1="84625" y1="37625" x2="76500" y2="32125"/>
                        <a14:foregroundMark x1="76500" y1="32125" x2="57500" y2="27250"/>
                        <a14:foregroundMark x1="57500" y1="27250" x2="20250" y2="28750"/>
                        <a14:foregroundMark x1="20250" y1="28750" x2="15750" y2="38375"/>
                        <a14:foregroundMark x1="15750" y1="38375" x2="12250" y2="41125"/>
                        <a14:foregroundMark x1="28375" y1="36125" x2="17625" y2="48125"/>
                        <a14:foregroundMark x1="17625" y1="48125" x2="23875" y2="57625"/>
                        <a14:foregroundMark x1="23875" y1="57625" x2="34500" y2="44000"/>
                        <a14:foregroundMark x1="34500" y1="44000" x2="21250" y2="39375"/>
                        <a14:foregroundMark x1="21250" y1="39375" x2="19250" y2="41250"/>
                        <a14:foregroundMark x1="26250" y1="40250" x2="27375" y2="52750"/>
                        <a14:foregroundMark x1="27375" y1="52750" x2="28875" y2="40125"/>
                        <a14:foregroundMark x1="28875" y1="40125" x2="18750" y2="45500"/>
                        <a14:foregroundMark x1="18750" y1="45500" x2="20750" y2="48625"/>
                        <a14:foregroundMark x1="26875" y1="40625" x2="27375" y2="58250"/>
                        <a14:foregroundMark x1="27375" y1="58250" x2="30625" y2="48375"/>
                        <a14:foregroundMark x1="30625" y1="48375" x2="20375" y2="51125"/>
                        <a14:foregroundMark x1="20375" y1="51125" x2="20375" y2="52375"/>
                        <a14:foregroundMark x1="19125" y1="42500" x2="25500" y2="55125"/>
                        <a14:foregroundMark x1="25500" y1="55125" x2="25125" y2="59500"/>
                        <a14:foregroundMark x1="22250" y1="56750" x2="21750" y2="58125"/>
                        <a14:foregroundMark x1="38500" y1="39875" x2="29750" y2="53250"/>
                        <a14:foregroundMark x1="29750" y1="53250" x2="34875" y2="62125"/>
                        <a14:foregroundMark x1="34875" y1="62125" x2="39750" y2="49375"/>
                        <a14:foregroundMark x1="39750" y1="49375" x2="36125" y2="43000"/>
                        <a14:foregroundMark x1="43375" y1="42375" x2="41000" y2="60750"/>
                        <a14:foregroundMark x1="41000" y1="60750" x2="51625" y2="47750"/>
                        <a14:foregroundMark x1="51625" y1="47750" x2="43375" y2="46875"/>
                        <a14:foregroundMark x1="43375" y1="46875" x2="41375" y2="48000"/>
                        <a14:foregroundMark x1="47125" y1="50750" x2="48375" y2="59000"/>
                        <a14:foregroundMark x1="48375" y1="59000" x2="45125" y2="53500"/>
                        <a14:foregroundMark x1="53625" y1="43250" x2="52125" y2="50125"/>
                        <a14:foregroundMark x1="52125" y1="50125" x2="54125" y2="58375"/>
                        <a14:foregroundMark x1="54125" y1="58375" x2="58125" y2="50500"/>
                        <a14:foregroundMark x1="58125" y1="50500" x2="53250" y2="45125"/>
                        <a14:foregroundMark x1="53250" y1="45125" x2="51500" y2="45375"/>
                        <a14:foregroundMark x1="58625" y1="42000" x2="59750" y2="52125"/>
                        <a14:foregroundMark x1="59750" y1="52125" x2="57750" y2="45000"/>
                        <a14:foregroundMark x1="63000" y1="45375" x2="61000" y2="62375"/>
                        <a14:foregroundMark x1="61000" y1="62375" x2="73375" y2="56375"/>
                        <a14:foregroundMark x1="73375" y1="56375" x2="72000" y2="45625"/>
                        <a14:foregroundMark x1="72000" y1="45625" x2="64375" y2="43500"/>
                        <a14:foregroundMark x1="64375" y1="43500" x2="61750" y2="33375"/>
                        <a14:foregroundMark x1="61750" y1="33375" x2="72625" y2="31250"/>
                        <a14:foregroundMark x1="72625" y1="31250" x2="67750" y2="44000"/>
                        <a14:foregroundMark x1="67750" y1="44000" x2="73125" y2="38125"/>
                        <a14:foregroundMark x1="73125" y1="38125" x2="81750" y2="37125"/>
                        <a14:foregroundMark x1="81750" y1="37125" x2="77625" y2="50250"/>
                        <a14:foregroundMark x1="77625" y1="50250" x2="81750" y2="52375"/>
                        <a14:foregroundMark x1="68875" y1="31750" x2="67125" y2="43250"/>
                        <a14:foregroundMark x1="67125" y1="43250" x2="69125" y2="34625"/>
                        <a14:foregroundMark x1="78750" y1="32500" x2="75250" y2="44500"/>
                        <a14:foregroundMark x1="75250" y1="44500" x2="79875" y2="36750"/>
                        <a14:foregroundMark x1="79875" y1="36750" x2="76875" y2="36375"/>
                        <a14:foregroundMark x1="78750" y1="46625" x2="80125" y2="55500"/>
                        <a14:foregroundMark x1="80125" y1="55500" x2="80750" y2="46125"/>
                        <a14:foregroundMark x1="80750" y1="46125" x2="77750" y2="45875"/>
                        <a14:foregroundMark x1="90375" y1="44000" x2="88750" y2="56375"/>
                        <a14:foregroundMark x1="45750" y1="10250" x2="57875" y2="11500"/>
                        <a14:foregroundMark x1="54125" y1="8875" x2="53500" y2="9125"/>
                        <a14:foregroundMark x1="49500" y1="90500" x2="54125" y2="89500"/>
                        <a14:foregroundMark x1="9625" y1="49625" x2="11000" y2="47125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3256" t="7288" r="7881" b="3666"/>
          <a:stretch>
            <a:fillRect/>
          </a:stretch>
        </p:blipFill>
        <p:spPr bwMode="auto">
          <a:xfrm>
            <a:off x="11238614" y="5890437"/>
            <a:ext cx="733648" cy="7351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Box 7">
            <a:extLst>
              <a:ext uri="{FF2B5EF4-FFF2-40B4-BE49-F238E27FC236}">
                <a16:creationId xmlns:a16="http://schemas.microsoft.com/office/drawing/2014/main" id="{693CBDDA-F9E3-4D3F-05CF-265477EEE1BB}"/>
              </a:ext>
            </a:extLst>
          </p:cNvPr>
          <p:cNvSpPr txBox="1"/>
          <p:nvPr/>
        </p:nvSpPr>
        <p:spPr>
          <a:xfrm>
            <a:off x="2041584" y="1730112"/>
            <a:ext cx="7931980" cy="9787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>
              <a:lnSpc>
                <a:spcPts val="6400"/>
              </a:lnSpc>
            </a:pPr>
            <a:r>
              <a:rPr lang="pt-BR" sz="8000" b="1" dirty="0">
                <a:solidFill>
                  <a:schemeClr val="bg1"/>
                </a:solidFill>
                <a:latin typeface="Candara" panose="020E0502030303020204" pitchFamily="34" charset="0"/>
              </a:rPr>
              <a:t>DEMONSTRAÇÃO</a:t>
            </a:r>
            <a:endParaRPr lang="pt-BR" sz="6600" dirty="0">
              <a:solidFill>
                <a:schemeClr val="bg1"/>
              </a:solidFill>
              <a:latin typeface="Candara" panose="020E0502030303020204" pitchFamily="34" charset="0"/>
            </a:endParaRPr>
          </a:p>
        </p:txBody>
      </p:sp>
      <p:sp>
        <p:nvSpPr>
          <p:cNvPr id="7" name="Rectangle 13">
            <a:extLst>
              <a:ext uri="{FF2B5EF4-FFF2-40B4-BE49-F238E27FC236}">
                <a16:creationId xmlns:a16="http://schemas.microsoft.com/office/drawing/2014/main" id="{D81827A6-765E-52AA-17E7-8C604800E12D}"/>
              </a:ext>
            </a:extLst>
          </p:cNvPr>
          <p:cNvSpPr/>
          <p:nvPr/>
        </p:nvSpPr>
        <p:spPr>
          <a:xfrm>
            <a:off x="5647575" y="3037524"/>
            <a:ext cx="720000" cy="7200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>
              <a:solidFill>
                <a:schemeClr val="bg1"/>
              </a:solidFill>
            </a:endParaRPr>
          </a:p>
        </p:txBody>
      </p:sp>
      <p:grpSp>
        <p:nvGrpSpPr>
          <p:cNvPr id="8" name="Agrupar 7">
            <a:extLst>
              <a:ext uri="{FF2B5EF4-FFF2-40B4-BE49-F238E27FC236}">
                <a16:creationId xmlns:a16="http://schemas.microsoft.com/office/drawing/2014/main" id="{D3229997-B058-BC22-1430-547B23B076CB}"/>
              </a:ext>
            </a:extLst>
          </p:cNvPr>
          <p:cNvGrpSpPr/>
          <p:nvPr/>
        </p:nvGrpSpPr>
        <p:grpSpPr>
          <a:xfrm>
            <a:off x="954125" y="3704798"/>
            <a:ext cx="2281897" cy="1210940"/>
            <a:chOff x="2677307" y="1700570"/>
            <a:chExt cx="2281897" cy="1210940"/>
          </a:xfrm>
        </p:grpSpPr>
        <p:sp>
          <p:nvSpPr>
            <p:cNvPr id="9" name="Retângulo de cantos arredondados 18">
              <a:extLst>
                <a:ext uri="{FF2B5EF4-FFF2-40B4-BE49-F238E27FC236}">
                  <a16:creationId xmlns:a16="http://schemas.microsoft.com/office/drawing/2014/main" id="{AF2F8582-BB26-A69A-575D-0D7127F05DFA}"/>
                </a:ext>
              </a:extLst>
            </p:cNvPr>
            <p:cNvSpPr/>
            <p:nvPr/>
          </p:nvSpPr>
          <p:spPr>
            <a:xfrm>
              <a:off x="2684678" y="1800848"/>
              <a:ext cx="2245219" cy="1110662"/>
            </a:xfrm>
            <a:prstGeom prst="roundRect">
              <a:avLst>
                <a:gd name="adj" fmla="val 16747"/>
              </a:avLst>
            </a:prstGeom>
            <a:solidFill>
              <a:srgbClr val="C00000"/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>
                <a:defRPr/>
              </a:pPr>
              <a:endParaRPr lang="pt-BR" dirty="0">
                <a:solidFill>
                  <a:schemeClr val="tx1"/>
                </a:solidFill>
                <a:latin typeface="Candara" panose="020E0502030303020204" pitchFamily="34" charset="0"/>
                <a:ea typeface="Arial" charset="0"/>
                <a:cs typeface="Arial" charset="0"/>
              </a:endParaRPr>
            </a:p>
          </p:txBody>
        </p:sp>
        <p:sp>
          <p:nvSpPr>
            <p:cNvPr id="10" name="Text Box 4">
              <a:extLst>
                <a:ext uri="{FF2B5EF4-FFF2-40B4-BE49-F238E27FC236}">
                  <a16:creationId xmlns:a16="http://schemas.microsoft.com/office/drawing/2014/main" id="{83C1C33B-49F2-A47E-6BCA-95E342A296DE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2684678" y="2397435"/>
              <a:ext cx="2245219" cy="33855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/>
            <a:p>
              <a:pPr algn="ctr">
                <a:defRPr/>
              </a:pPr>
              <a:r>
                <a:rPr lang="pt-BR" sz="1600" b="1" kern="0" dirty="0">
                  <a:solidFill>
                    <a:schemeClr val="bg1"/>
                  </a:solidFill>
                  <a:latin typeface="Candara" panose="020E0502030303020204" pitchFamily="34" charset="0"/>
                  <a:ea typeface="Arial" charset="0"/>
                  <a:cs typeface="Arial" charset="0"/>
                </a:rPr>
                <a:t>O que é</a:t>
              </a:r>
            </a:p>
          </p:txBody>
        </p:sp>
        <p:sp>
          <p:nvSpPr>
            <p:cNvPr id="11" name="Retângulo de cantos arredondados 30">
              <a:extLst>
                <a:ext uri="{FF2B5EF4-FFF2-40B4-BE49-F238E27FC236}">
                  <a16:creationId xmlns:a16="http://schemas.microsoft.com/office/drawing/2014/main" id="{D3A15E18-3205-6D0A-5761-D36CD2BAB2EF}"/>
                </a:ext>
              </a:extLst>
            </p:cNvPr>
            <p:cNvSpPr/>
            <p:nvPr/>
          </p:nvSpPr>
          <p:spPr>
            <a:xfrm>
              <a:off x="2699243" y="1700570"/>
              <a:ext cx="2259961" cy="571086"/>
            </a:xfrm>
            <a:prstGeom prst="roundRect">
              <a:avLst>
                <a:gd name="adj" fmla="val 50000"/>
              </a:avLst>
            </a:prstGeom>
            <a:solidFill>
              <a:srgbClr val="B8934B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endParaRPr lang="pt-BR" sz="1600" dirty="0">
                <a:latin typeface="Candara" panose="020E0502030303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" name="CaixaDeTexto 11">
              <a:extLst>
                <a:ext uri="{FF2B5EF4-FFF2-40B4-BE49-F238E27FC236}">
                  <a16:creationId xmlns:a16="http://schemas.microsoft.com/office/drawing/2014/main" id="{4ED9F470-AF88-2D33-189F-D115FCFC9A98}"/>
                </a:ext>
              </a:extLst>
            </p:cNvPr>
            <p:cNvSpPr txBox="1"/>
            <p:nvPr/>
          </p:nvSpPr>
          <p:spPr>
            <a:xfrm>
              <a:off x="2677307" y="1772937"/>
              <a:ext cx="2281897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pt-BR" sz="2000" b="1" dirty="0">
                  <a:solidFill>
                    <a:schemeClr val="bg1"/>
                  </a:solidFill>
                  <a:latin typeface="Candara" panose="020E0502030303020204" pitchFamily="34" charset="0"/>
                </a:rPr>
                <a:t>Características</a:t>
              </a:r>
            </a:p>
          </p:txBody>
        </p:sp>
      </p:grpSp>
      <p:grpSp>
        <p:nvGrpSpPr>
          <p:cNvPr id="13" name="Agrupar 12">
            <a:extLst>
              <a:ext uri="{FF2B5EF4-FFF2-40B4-BE49-F238E27FC236}">
                <a16:creationId xmlns:a16="http://schemas.microsoft.com/office/drawing/2014/main" id="{73D5C5E9-7C54-606D-E585-C6BC196A6FCF}"/>
              </a:ext>
            </a:extLst>
          </p:cNvPr>
          <p:cNvGrpSpPr/>
          <p:nvPr/>
        </p:nvGrpSpPr>
        <p:grpSpPr>
          <a:xfrm>
            <a:off x="8447007" y="3762544"/>
            <a:ext cx="2270108" cy="1236956"/>
            <a:chOff x="5651995" y="1683944"/>
            <a:chExt cx="2270108" cy="1236956"/>
          </a:xfrm>
        </p:grpSpPr>
        <p:sp>
          <p:nvSpPr>
            <p:cNvPr id="14" name="Retângulo de cantos arredondados 19">
              <a:extLst>
                <a:ext uri="{FF2B5EF4-FFF2-40B4-BE49-F238E27FC236}">
                  <a16:creationId xmlns:a16="http://schemas.microsoft.com/office/drawing/2014/main" id="{90C39E1D-C520-6728-CE1F-909282792006}"/>
                </a:ext>
              </a:extLst>
            </p:cNvPr>
            <p:cNvSpPr/>
            <p:nvPr/>
          </p:nvSpPr>
          <p:spPr>
            <a:xfrm>
              <a:off x="5652358" y="1878068"/>
              <a:ext cx="2269745" cy="1042832"/>
            </a:xfrm>
            <a:prstGeom prst="roundRect">
              <a:avLst>
                <a:gd name="adj" fmla="val 24272"/>
              </a:avLst>
            </a:prstGeom>
            <a:solidFill>
              <a:srgbClr val="C00000"/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>
                <a:defRPr/>
              </a:pPr>
              <a:endParaRPr lang="pt-BR" dirty="0">
                <a:solidFill>
                  <a:schemeClr val="tx1"/>
                </a:solidFill>
                <a:latin typeface="Candara" panose="020E0502030303020204" pitchFamily="34" charset="0"/>
                <a:ea typeface="Arial" charset="0"/>
                <a:cs typeface="Arial" charset="0"/>
              </a:endParaRPr>
            </a:p>
          </p:txBody>
        </p:sp>
        <p:sp>
          <p:nvSpPr>
            <p:cNvPr id="15" name="Text Box 5">
              <a:extLst>
                <a:ext uri="{FF2B5EF4-FFF2-40B4-BE49-F238E27FC236}">
                  <a16:creationId xmlns:a16="http://schemas.microsoft.com/office/drawing/2014/main" id="{54617531-1016-F15B-9B00-8018A2D7D6AF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5651995" y="2298853"/>
              <a:ext cx="2269745" cy="5847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/>
            <a:p>
              <a:pPr algn="ctr">
                <a:defRPr/>
              </a:pPr>
              <a:r>
                <a:rPr lang="pt-BR" sz="1600" b="1" kern="0" dirty="0">
                  <a:solidFill>
                    <a:schemeClr val="bg1"/>
                  </a:solidFill>
                  <a:latin typeface="Candara" panose="020E0502030303020204" pitchFamily="34" charset="0"/>
                  <a:ea typeface="Arial" charset="0"/>
                  <a:cs typeface="Arial" charset="0"/>
                </a:rPr>
                <a:t>O que faz de melhor que os outros</a:t>
              </a:r>
            </a:p>
          </p:txBody>
        </p:sp>
        <p:sp>
          <p:nvSpPr>
            <p:cNvPr id="16" name="Retângulo de cantos arredondados 42">
              <a:extLst>
                <a:ext uri="{FF2B5EF4-FFF2-40B4-BE49-F238E27FC236}">
                  <a16:creationId xmlns:a16="http://schemas.microsoft.com/office/drawing/2014/main" id="{BFA020D5-053E-6EF2-FB57-49D53301B208}"/>
                </a:ext>
              </a:extLst>
            </p:cNvPr>
            <p:cNvSpPr/>
            <p:nvPr/>
          </p:nvSpPr>
          <p:spPr>
            <a:xfrm>
              <a:off x="5657250" y="1683944"/>
              <a:ext cx="2259961" cy="571086"/>
            </a:xfrm>
            <a:prstGeom prst="roundRect">
              <a:avLst>
                <a:gd name="adj" fmla="val 50000"/>
              </a:avLst>
            </a:prstGeom>
            <a:solidFill>
              <a:srgbClr val="B8934B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endParaRPr lang="pt-BR" sz="1600" dirty="0">
                <a:latin typeface="Candara" panose="020E0502030303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7" name="CaixaDeTexto 16">
              <a:extLst>
                <a:ext uri="{FF2B5EF4-FFF2-40B4-BE49-F238E27FC236}">
                  <a16:creationId xmlns:a16="http://schemas.microsoft.com/office/drawing/2014/main" id="{B508F119-2650-7797-BA20-54B01E7B4680}"/>
                </a:ext>
              </a:extLst>
            </p:cNvPr>
            <p:cNvSpPr txBox="1"/>
            <p:nvPr/>
          </p:nvSpPr>
          <p:spPr>
            <a:xfrm>
              <a:off x="5769986" y="1748528"/>
              <a:ext cx="2034487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pt-BR" sz="2000" b="1" dirty="0">
                  <a:solidFill>
                    <a:schemeClr val="bg1"/>
                  </a:solidFill>
                  <a:latin typeface="Candara" panose="020E0502030303020204" pitchFamily="34" charset="0"/>
                </a:rPr>
                <a:t>Vantagens</a:t>
              </a:r>
            </a:p>
          </p:txBody>
        </p:sp>
      </p:grpSp>
      <p:grpSp>
        <p:nvGrpSpPr>
          <p:cNvPr id="18" name="Agrupar 17">
            <a:extLst>
              <a:ext uri="{FF2B5EF4-FFF2-40B4-BE49-F238E27FC236}">
                <a16:creationId xmlns:a16="http://schemas.microsoft.com/office/drawing/2014/main" id="{B1F223CD-9D70-3E9D-CEBB-84D3C7F6FA14}"/>
              </a:ext>
            </a:extLst>
          </p:cNvPr>
          <p:cNvGrpSpPr/>
          <p:nvPr/>
        </p:nvGrpSpPr>
        <p:grpSpPr>
          <a:xfrm>
            <a:off x="4822529" y="3736252"/>
            <a:ext cx="2283703" cy="1248310"/>
            <a:chOff x="8616876" y="1663200"/>
            <a:chExt cx="2283703" cy="1248310"/>
          </a:xfrm>
        </p:grpSpPr>
        <p:sp>
          <p:nvSpPr>
            <p:cNvPr id="19" name="Retângulo de cantos arredondados 19">
              <a:extLst>
                <a:ext uri="{FF2B5EF4-FFF2-40B4-BE49-F238E27FC236}">
                  <a16:creationId xmlns:a16="http://schemas.microsoft.com/office/drawing/2014/main" id="{E92A17C1-5D78-FA57-5000-B18BEE554B8C}"/>
                </a:ext>
              </a:extLst>
            </p:cNvPr>
            <p:cNvSpPr/>
            <p:nvPr/>
          </p:nvSpPr>
          <p:spPr>
            <a:xfrm>
              <a:off x="8616876" y="1878068"/>
              <a:ext cx="2283703" cy="1033442"/>
            </a:xfrm>
            <a:prstGeom prst="roundRect">
              <a:avLst>
                <a:gd name="adj" fmla="val 20947"/>
              </a:avLst>
            </a:prstGeom>
            <a:solidFill>
              <a:srgbClr val="C00000"/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>
                <a:defRPr/>
              </a:pPr>
              <a:endParaRPr lang="pt-BR" dirty="0">
                <a:solidFill>
                  <a:schemeClr val="tx1"/>
                </a:solidFill>
                <a:latin typeface="Candara" panose="020E0502030303020204" pitchFamily="34" charset="0"/>
                <a:ea typeface="Arial" charset="0"/>
                <a:cs typeface="Arial" charset="0"/>
              </a:endParaRPr>
            </a:p>
          </p:txBody>
        </p:sp>
        <p:sp>
          <p:nvSpPr>
            <p:cNvPr id="20" name="Text Box 7">
              <a:extLst>
                <a:ext uri="{FF2B5EF4-FFF2-40B4-BE49-F238E27FC236}">
                  <a16:creationId xmlns:a16="http://schemas.microsoft.com/office/drawing/2014/main" id="{BE6C414B-3CC0-985F-D42E-A73B8DA49B8F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8767253" y="2263049"/>
              <a:ext cx="2034487" cy="5847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/>
            <a:p>
              <a:pPr algn="ctr">
                <a:defRPr/>
              </a:pPr>
              <a:r>
                <a:rPr lang="pt-BR" sz="1600" b="1" kern="0" dirty="0">
                  <a:solidFill>
                    <a:schemeClr val="bg1"/>
                  </a:solidFill>
                  <a:latin typeface="Candara" panose="020E0502030303020204" pitchFamily="34" charset="0"/>
                  <a:ea typeface="Arial" charset="0"/>
                  <a:cs typeface="Arial" charset="0"/>
                </a:rPr>
                <a:t>O que faz para o cliente</a:t>
              </a:r>
            </a:p>
          </p:txBody>
        </p:sp>
        <p:sp>
          <p:nvSpPr>
            <p:cNvPr id="21" name="Retângulo de cantos arredondados 46">
              <a:extLst>
                <a:ext uri="{FF2B5EF4-FFF2-40B4-BE49-F238E27FC236}">
                  <a16:creationId xmlns:a16="http://schemas.microsoft.com/office/drawing/2014/main" id="{FA4661B8-59D6-5CC6-1C06-CCB35B46120D}"/>
                </a:ext>
              </a:extLst>
            </p:cNvPr>
            <p:cNvSpPr/>
            <p:nvPr/>
          </p:nvSpPr>
          <p:spPr>
            <a:xfrm>
              <a:off x="8619367" y="1663200"/>
              <a:ext cx="2278722" cy="571086"/>
            </a:xfrm>
            <a:prstGeom prst="roundRect">
              <a:avLst>
                <a:gd name="adj" fmla="val 50000"/>
              </a:avLst>
            </a:prstGeom>
            <a:solidFill>
              <a:srgbClr val="B8934B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endParaRPr lang="pt-BR" sz="1600" dirty="0">
                <a:latin typeface="Candara" panose="020E0502030303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2" name="CaixaDeTexto 21">
              <a:extLst>
                <a:ext uri="{FF2B5EF4-FFF2-40B4-BE49-F238E27FC236}">
                  <a16:creationId xmlns:a16="http://schemas.microsoft.com/office/drawing/2014/main" id="{7A40F3A0-26C7-C6B1-8A01-1DB9B8A01985}"/>
                </a:ext>
              </a:extLst>
            </p:cNvPr>
            <p:cNvSpPr txBox="1"/>
            <p:nvPr/>
          </p:nvSpPr>
          <p:spPr>
            <a:xfrm>
              <a:off x="8741485" y="1746834"/>
              <a:ext cx="2034487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pt-BR" sz="2000" b="1" dirty="0">
                  <a:solidFill>
                    <a:schemeClr val="bg1"/>
                  </a:solidFill>
                  <a:latin typeface="Candara" panose="020E0502030303020204" pitchFamily="34" charset="0"/>
                </a:rPr>
                <a:t>Benefício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60623538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61BCAEC2-1A0A-8975-341F-C700DA43A76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m 2" descr="Interface gráfica do usuário&#10;&#10;O conteúdo gerado por IA pode estar incorreto.">
            <a:extLst>
              <a:ext uri="{FF2B5EF4-FFF2-40B4-BE49-F238E27FC236}">
                <a16:creationId xmlns:a16="http://schemas.microsoft.com/office/drawing/2014/main" id="{CB0E00A8-6D36-78EC-FC39-613794D4D18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6447" y="248306"/>
            <a:ext cx="1371600" cy="561358"/>
          </a:xfrm>
          <a:prstGeom prst="rect">
            <a:avLst/>
          </a:prstGeom>
        </p:spPr>
      </p:pic>
      <p:pic>
        <p:nvPicPr>
          <p:cNvPr id="1026" name="Picture 2" descr="logo claro PNG &amp; clipart images | Citypng">
            <a:extLst>
              <a:ext uri="{FF2B5EF4-FFF2-40B4-BE49-F238E27FC236}">
                <a16:creationId xmlns:a16="http://schemas.microsoft.com/office/drawing/2014/main" id="{6F2A8613-4E28-AD35-89D0-D217B9640F62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ackgroundRemoval t="8875" b="90500" l="9625" r="90375">
                        <a14:foregroundMark x1="35125" y1="42750" x2="35125" y2="42750"/>
                        <a14:foregroundMark x1="35250" y1="45125" x2="33750" y2="54125"/>
                        <a14:foregroundMark x1="33750" y1="54125" x2="41375" y2="48750"/>
                        <a14:foregroundMark x1="41375" y1="48750" x2="36875" y2="40375"/>
                        <a14:foregroundMark x1="36875" y1="40375" x2="31375" y2="43625"/>
                        <a14:foregroundMark x1="22000" y1="41875" x2="12375" y2="50500"/>
                        <a14:foregroundMark x1="12375" y1="50500" x2="25625" y2="62375"/>
                        <a14:foregroundMark x1="25625" y1="62375" x2="52750" y2="64125"/>
                        <a14:foregroundMark x1="52750" y1="64125" x2="73500" y2="62500"/>
                        <a14:foregroundMark x1="73500" y1="62500" x2="87375" y2="56375"/>
                        <a14:foregroundMark x1="87375" y1="56375" x2="87125" y2="45625"/>
                        <a14:foregroundMark x1="87125" y1="45625" x2="84625" y2="37625"/>
                        <a14:foregroundMark x1="84625" y1="37625" x2="76500" y2="32125"/>
                        <a14:foregroundMark x1="76500" y1="32125" x2="57500" y2="27250"/>
                        <a14:foregroundMark x1="57500" y1="27250" x2="20250" y2="28750"/>
                        <a14:foregroundMark x1="20250" y1="28750" x2="15750" y2="38375"/>
                        <a14:foregroundMark x1="15750" y1="38375" x2="12250" y2="41125"/>
                        <a14:foregroundMark x1="28375" y1="36125" x2="17625" y2="48125"/>
                        <a14:foregroundMark x1="17625" y1="48125" x2="23875" y2="57625"/>
                        <a14:foregroundMark x1="23875" y1="57625" x2="34500" y2="44000"/>
                        <a14:foregroundMark x1="34500" y1="44000" x2="21250" y2="39375"/>
                        <a14:foregroundMark x1="21250" y1="39375" x2="19250" y2="41250"/>
                        <a14:foregroundMark x1="26250" y1="40250" x2="27375" y2="52750"/>
                        <a14:foregroundMark x1="27375" y1="52750" x2="28875" y2="40125"/>
                        <a14:foregroundMark x1="28875" y1="40125" x2="18750" y2="45500"/>
                        <a14:foregroundMark x1="18750" y1="45500" x2="20750" y2="48625"/>
                        <a14:foregroundMark x1="26875" y1="40625" x2="27375" y2="58250"/>
                        <a14:foregroundMark x1="27375" y1="58250" x2="30625" y2="48375"/>
                        <a14:foregroundMark x1="30625" y1="48375" x2="20375" y2="51125"/>
                        <a14:foregroundMark x1="20375" y1="51125" x2="20375" y2="52375"/>
                        <a14:foregroundMark x1="19125" y1="42500" x2="25500" y2="55125"/>
                        <a14:foregroundMark x1="25500" y1="55125" x2="25125" y2="59500"/>
                        <a14:foregroundMark x1="22250" y1="56750" x2="21750" y2="58125"/>
                        <a14:foregroundMark x1="38500" y1="39875" x2="29750" y2="53250"/>
                        <a14:foregroundMark x1="29750" y1="53250" x2="34875" y2="62125"/>
                        <a14:foregroundMark x1="34875" y1="62125" x2="39750" y2="49375"/>
                        <a14:foregroundMark x1="39750" y1="49375" x2="36125" y2="43000"/>
                        <a14:foregroundMark x1="43375" y1="42375" x2="41000" y2="60750"/>
                        <a14:foregroundMark x1="41000" y1="60750" x2="51625" y2="47750"/>
                        <a14:foregroundMark x1="51625" y1="47750" x2="43375" y2="46875"/>
                        <a14:foregroundMark x1="43375" y1="46875" x2="41375" y2="48000"/>
                        <a14:foregroundMark x1="47125" y1="50750" x2="48375" y2="59000"/>
                        <a14:foregroundMark x1="48375" y1="59000" x2="45125" y2="53500"/>
                        <a14:foregroundMark x1="53625" y1="43250" x2="52125" y2="50125"/>
                        <a14:foregroundMark x1="52125" y1="50125" x2="54125" y2="58375"/>
                        <a14:foregroundMark x1="54125" y1="58375" x2="58125" y2="50500"/>
                        <a14:foregroundMark x1="58125" y1="50500" x2="53250" y2="45125"/>
                        <a14:foregroundMark x1="53250" y1="45125" x2="51500" y2="45375"/>
                        <a14:foregroundMark x1="58625" y1="42000" x2="59750" y2="52125"/>
                        <a14:foregroundMark x1="59750" y1="52125" x2="57750" y2="45000"/>
                        <a14:foregroundMark x1="63000" y1="45375" x2="61000" y2="62375"/>
                        <a14:foregroundMark x1="61000" y1="62375" x2="73375" y2="56375"/>
                        <a14:foregroundMark x1="73375" y1="56375" x2="72000" y2="45625"/>
                        <a14:foregroundMark x1="72000" y1="45625" x2="64375" y2="43500"/>
                        <a14:foregroundMark x1="64375" y1="43500" x2="61750" y2="33375"/>
                        <a14:foregroundMark x1="61750" y1="33375" x2="72625" y2="31250"/>
                        <a14:foregroundMark x1="72625" y1="31250" x2="67750" y2="44000"/>
                        <a14:foregroundMark x1="67750" y1="44000" x2="73125" y2="38125"/>
                        <a14:foregroundMark x1="73125" y1="38125" x2="81750" y2="37125"/>
                        <a14:foregroundMark x1="81750" y1="37125" x2="77625" y2="50250"/>
                        <a14:foregroundMark x1="77625" y1="50250" x2="81750" y2="52375"/>
                        <a14:foregroundMark x1="68875" y1="31750" x2="67125" y2="43250"/>
                        <a14:foregroundMark x1="67125" y1="43250" x2="69125" y2="34625"/>
                        <a14:foregroundMark x1="78750" y1="32500" x2="75250" y2="44500"/>
                        <a14:foregroundMark x1="75250" y1="44500" x2="79875" y2="36750"/>
                        <a14:foregroundMark x1="79875" y1="36750" x2="76875" y2="36375"/>
                        <a14:foregroundMark x1="78750" y1="46625" x2="80125" y2="55500"/>
                        <a14:foregroundMark x1="80125" y1="55500" x2="80750" y2="46125"/>
                        <a14:foregroundMark x1="80750" y1="46125" x2="77750" y2="45875"/>
                        <a14:foregroundMark x1="90375" y1="44000" x2="88750" y2="56375"/>
                        <a14:foregroundMark x1="45750" y1="10250" x2="57875" y2="11500"/>
                        <a14:foregroundMark x1="54125" y1="8875" x2="53500" y2="9125"/>
                        <a14:foregroundMark x1="49500" y1="90500" x2="54125" y2="89500"/>
                        <a14:foregroundMark x1="9625" y1="49625" x2="11000" y2="47125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3256" t="7288" r="7881" b="3666"/>
          <a:stretch>
            <a:fillRect/>
          </a:stretch>
        </p:blipFill>
        <p:spPr bwMode="auto">
          <a:xfrm>
            <a:off x="11238614" y="5890437"/>
            <a:ext cx="733648" cy="7351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Imagem 6" descr="Tela de um aparelho celular&#10;&#10;O conteúdo gerado por IA pode estar incorreto.">
            <a:extLst>
              <a:ext uri="{FF2B5EF4-FFF2-40B4-BE49-F238E27FC236}">
                <a16:creationId xmlns:a16="http://schemas.microsoft.com/office/drawing/2014/main" id="{49AAFB8F-E4F4-4CA0-C179-02878B8CEDCF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ackgroundRemoval t="5381" b="92377" l="9091" r="89773">
                        <a14:foregroundMark x1="42614" y1="5605" x2="50568" y2="7623"/>
                        <a14:foregroundMark x1="39773" y1="90359" x2="50568" y2="92377"/>
                      </a14:backgroundRemoval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0942584" y="212076"/>
            <a:ext cx="405449" cy="1027444"/>
          </a:xfrm>
          <a:prstGeom prst="roundRect">
            <a:avLst>
              <a:gd name="adj" fmla="val 11213"/>
            </a:avLst>
          </a:prstGeom>
          <a:effectLst>
            <a:glow rad="139700">
              <a:schemeClr val="bg1">
                <a:lumMod val="95000"/>
                <a:alpha val="40000"/>
              </a:schemeClr>
            </a:glow>
          </a:effectLst>
        </p:spPr>
      </p:pic>
      <p:sp>
        <p:nvSpPr>
          <p:cNvPr id="8" name="CaixaDeTexto 7">
            <a:extLst>
              <a:ext uri="{FF2B5EF4-FFF2-40B4-BE49-F238E27FC236}">
                <a16:creationId xmlns:a16="http://schemas.microsoft.com/office/drawing/2014/main" id="{11A9247B-CECE-B2AC-514C-2C2F97187DEB}"/>
              </a:ext>
            </a:extLst>
          </p:cNvPr>
          <p:cNvSpPr txBox="1"/>
          <p:nvPr/>
        </p:nvSpPr>
        <p:spPr>
          <a:xfrm>
            <a:off x="8442748" y="346060"/>
            <a:ext cx="270256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sz="1800" b="1" i="0" u="none" strike="noStrike" baseline="0" dirty="0">
                <a:solidFill>
                  <a:schemeClr val="bg1"/>
                </a:solidFill>
                <a:latin typeface="Candara" panose="020E0502030303020204" pitchFamily="34" charset="0"/>
              </a:rPr>
              <a:t>Fechadura Eletrônica </a:t>
            </a:r>
            <a:endParaRPr lang="pt-BR" dirty="0">
              <a:solidFill>
                <a:schemeClr val="bg1"/>
              </a:solidFill>
              <a:latin typeface="Candara" panose="020E0502030303020204" pitchFamily="34" charset="0"/>
            </a:endParaRPr>
          </a:p>
        </p:txBody>
      </p:sp>
      <p:pic>
        <p:nvPicPr>
          <p:cNvPr id="9" name="Imagem 8" descr="Controle remoto preto sobre fundo branco&#10;&#10;O conteúdo gerado por IA pode estar incorreto.">
            <a:extLst>
              <a:ext uri="{FF2B5EF4-FFF2-40B4-BE49-F238E27FC236}">
                <a16:creationId xmlns:a16="http://schemas.microsoft.com/office/drawing/2014/main" id="{7FCDDD28-09D4-0A5B-FC7C-3981D0943E6F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ackgroundRemoval t="4144" b="97652" l="9071" r="95248">
                        <a14:foregroundMark x1="23110" y1="65746" x2="18575" y2="92541"/>
                        <a14:foregroundMark x1="22462" y1="97928" x2="25054" y2="97928"/>
                        <a14:foregroundMark x1="26998" y1="7873" x2="19870" y2="7044"/>
                        <a14:foregroundMark x1="95464" y1="50000" x2="88985" y2="52486"/>
                        <a14:foregroundMark x1="29590" y1="4144" x2="23758" y2="5801"/>
                      </a14:backgroundRemoval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1474983" y="222236"/>
            <a:ext cx="630750" cy="986313"/>
          </a:xfrm>
          <a:prstGeom prst="rect">
            <a:avLst/>
          </a:prstGeom>
          <a:effectLst>
            <a:glow rad="63500">
              <a:schemeClr val="bg1">
                <a:lumMod val="95000"/>
                <a:alpha val="40000"/>
              </a:schemeClr>
            </a:glow>
          </a:effectLst>
        </p:spPr>
      </p:pic>
      <p:pic>
        <p:nvPicPr>
          <p:cNvPr id="5" name="Imagem 4" descr="Interface gráfica do usuário, Site&#10;&#10;O conteúdo gerado por IA pode estar incorreto.">
            <a:extLst>
              <a:ext uri="{FF2B5EF4-FFF2-40B4-BE49-F238E27FC236}">
                <a16:creationId xmlns:a16="http://schemas.microsoft.com/office/drawing/2014/main" id="{6D0D84DD-32EC-4657-CD50-927C47A83469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276447" y="975654"/>
            <a:ext cx="10269633" cy="5729946"/>
          </a:xfrm>
          <a:prstGeom prst="roundRect">
            <a:avLst>
              <a:gd name="adj" fmla="val 3546"/>
            </a:avLst>
          </a:prstGeom>
        </p:spPr>
      </p:pic>
    </p:spTree>
    <p:extLst>
      <p:ext uri="{BB962C8B-B14F-4D97-AF65-F5344CB8AC3E}">
        <p14:creationId xmlns:p14="http://schemas.microsoft.com/office/powerpoint/2010/main" val="2435260937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6BFEFE32-11FF-C9A2-E784-2CC1720B6DA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m 2" descr="Interface gráfica do usuário&#10;&#10;O conteúdo gerado por IA pode estar incorreto.">
            <a:extLst>
              <a:ext uri="{FF2B5EF4-FFF2-40B4-BE49-F238E27FC236}">
                <a16:creationId xmlns:a16="http://schemas.microsoft.com/office/drawing/2014/main" id="{05E27A77-3E59-0E5C-0E0A-DD8835949C8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6447" y="248306"/>
            <a:ext cx="1371600" cy="561358"/>
          </a:xfrm>
          <a:prstGeom prst="rect">
            <a:avLst/>
          </a:prstGeom>
        </p:spPr>
      </p:pic>
      <p:pic>
        <p:nvPicPr>
          <p:cNvPr id="1026" name="Picture 2" descr="logo claro PNG &amp; clipart images | Citypng">
            <a:extLst>
              <a:ext uri="{FF2B5EF4-FFF2-40B4-BE49-F238E27FC236}">
                <a16:creationId xmlns:a16="http://schemas.microsoft.com/office/drawing/2014/main" id="{5C243D71-898E-31FB-AC93-B868C7F445DF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ackgroundRemoval t="8875" b="90500" l="9625" r="90375">
                        <a14:foregroundMark x1="35125" y1="42750" x2="35125" y2="42750"/>
                        <a14:foregroundMark x1="35250" y1="45125" x2="33750" y2="54125"/>
                        <a14:foregroundMark x1="33750" y1="54125" x2="41375" y2="48750"/>
                        <a14:foregroundMark x1="41375" y1="48750" x2="36875" y2="40375"/>
                        <a14:foregroundMark x1="36875" y1="40375" x2="31375" y2="43625"/>
                        <a14:foregroundMark x1="22000" y1="41875" x2="12375" y2="50500"/>
                        <a14:foregroundMark x1="12375" y1="50500" x2="25625" y2="62375"/>
                        <a14:foregroundMark x1="25625" y1="62375" x2="52750" y2="64125"/>
                        <a14:foregroundMark x1="52750" y1="64125" x2="73500" y2="62500"/>
                        <a14:foregroundMark x1="73500" y1="62500" x2="87375" y2="56375"/>
                        <a14:foregroundMark x1="87375" y1="56375" x2="87125" y2="45625"/>
                        <a14:foregroundMark x1="87125" y1="45625" x2="84625" y2="37625"/>
                        <a14:foregroundMark x1="84625" y1="37625" x2="76500" y2="32125"/>
                        <a14:foregroundMark x1="76500" y1="32125" x2="57500" y2="27250"/>
                        <a14:foregroundMark x1="57500" y1="27250" x2="20250" y2="28750"/>
                        <a14:foregroundMark x1="20250" y1="28750" x2="15750" y2="38375"/>
                        <a14:foregroundMark x1="15750" y1="38375" x2="12250" y2="41125"/>
                        <a14:foregroundMark x1="28375" y1="36125" x2="17625" y2="48125"/>
                        <a14:foregroundMark x1="17625" y1="48125" x2="23875" y2="57625"/>
                        <a14:foregroundMark x1="23875" y1="57625" x2="34500" y2="44000"/>
                        <a14:foregroundMark x1="34500" y1="44000" x2="21250" y2="39375"/>
                        <a14:foregroundMark x1="21250" y1="39375" x2="19250" y2="41250"/>
                        <a14:foregroundMark x1="26250" y1="40250" x2="27375" y2="52750"/>
                        <a14:foregroundMark x1="27375" y1="52750" x2="28875" y2="40125"/>
                        <a14:foregroundMark x1="28875" y1="40125" x2="18750" y2="45500"/>
                        <a14:foregroundMark x1="18750" y1="45500" x2="20750" y2="48625"/>
                        <a14:foregroundMark x1="26875" y1="40625" x2="27375" y2="58250"/>
                        <a14:foregroundMark x1="27375" y1="58250" x2="30625" y2="48375"/>
                        <a14:foregroundMark x1="30625" y1="48375" x2="20375" y2="51125"/>
                        <a14:foregroundMark x1="20375" y1="51125" x2="20375" y2="52375"/>
                        <a14:foregroundMark x1="19125" y1="42500" x2="25500" y2="55125"/>
                        <a14:foregroundMark x1="25500" y1="55125" x2="25125" y2="59500"/>
                        <a14:foregroundMark x1="22250" y1="56750" x2="21750" y2="58125"/>
                        <a14:foregroundMark x1="38500" y1="39875" x2="29750" y2="53250"/>
                        <a14:foregroundMark x1="29750" y1="53250" x2="34875" y2="62125"/>
                        <a14:foregroundMark x1="34875" y1="62125" x2="39750" y2="49375"/>
                        <a14:foregroundMark x1="39750" y1="49375" x2="36125" y2="43000"/>
                        <a14:foregroundMark x1="43375" y1="42375" x2="41000" y2="60750"/>
                        <a14:foregroundMark x1="41000" y1="60750" x2="51625" y2="47750"/>
                        <a14:foregroundMark x1="51625" y1="47750" x2="43375" y2="46875"/>
                        <a14:foregroundMark x1="43375" y1="46875" x2="41375" y2="48000"/>
                        <a14:foregroundMark x1="47125" y1="50750" x2="48375" y2="59000"/>
                        <a14:foregroundMark x1="48375" y1="59000" x2="45125" y2="53500"/>
                        <a14:foregroundMark x1="53625" y1="43250" x2="52125" y2="50125"/>
                        <a14:foregroundMark x1="52125" y1="50125" x2="54125" y2="58375"/>
                        <a14:foregroundMark x1="54125" y1="58375" x2="58125" y2="50500"/>
                        <a14:foregroundMark x1="58125" y1="50500" x2="53250" y2="45125"/>
                        <a14:foregroundMark x1="53250" y1="45125" x2="51500" y2="45375"/>
                        <a14:foregroundMark x1="58625" y1="42000" x2="59750" y2="52125"/>
                        <a14:foregroundMark x1="59750" y1="52125" x2="57750" y2="45000"/>
                        <a14:foregroundMark x1="63000" y1="45375" x2="61000" y2="62375"/>
                        <a14:foregroundMark x1="61000" y1="62375" x2="73375" y2="56375"/>
                        <a14:foregroundMark x1="73375" y1="56375" x2="72000" y2="45625"/>
                        <a14:foregroundMark x1="72000" y1="45625" x2="64375" y2="43500"/>
                        <a14:foregroundMark x1="64375" y1="43500" x2="61750" y2="33375"/>
                        <a14:foregroundMark x1="61750" y1="33375" x2="72625" y2="31250"/>
                        <a14:foregroundMark x1="72625" y1="31250" x2="67750" y2="44000"/>
                        <a14:foregroundMark x1="67750" y1="44000" x2="73125" y2="38125"/>
                        <a14:foregroundMark x1="73125" y1="38125" x2="81750" y2="37125"/>
                        <a14:foregroundMark x1="81750" y1="37125" x2="77625" y2="50250"/>
                        <a14:foregroundMark x1="77625" y1="50250" x2="81750" y2="52375"/>
                        <a14:foregroundMark x1="68875" y1="31750" x2="67125" y2="43250"/>
                        <a14:foregroundMark x1="67125" y1="43250" x2="69125" y2="34625"/>
                        <a14:foregroundMark x1="78750" y1="32500" x2="75250" y2="44500"/>
                        <a14:foregroundMark x1="75250" y1="44500" x2="79875" y2="36750"/>
                        <a14:foregroundMark x1="79875" y1="36750" x2="76875" y2="36375"/>
                        <a14:foregroundMark x1="78750" y1="46625" x2="80125" y2="55500"/>
                        <a14:foregroundMark x1="80125" y1="55500" x2="80750" y2="46125"/>
                        <a14:foregroundMark x1="80750" y1="46125" x2="77750" y2="45875"/>
                        <a14:foregroundMark x1="90375" y1="44000" x2="88750" y2="56375"/>
                        <a14:foregroundMark x1="45750" y1="10250" x2="57875" y2="11500"/>
                        <a14:foregroundMark x1="54125" y1="8875" x2="53500" y2="9125"/>
                        <a14:foregroundMark x1="49500" y1="90500" x2="54125" y2="89500"/>
                        <a14:foregroundMark x1="9625" y1="49625" x2="11000" y2="47125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3256" t="7288" r="7881" b="3666"/>
          <a:stretch>
            <a:fillRect/>
          </a:stretch>
        </p:blipFill>
        <p:spPr bwMode="auto">
          <a:xfrm>
            <a:off x="11238614" y="5890437"/>
            <a:ext cx="733648" cy="7351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Imagem 4" descr="Cd em superfície branca&#10;&#10;O conteúdo gerado por IA pode estar incorreto.">
            <a:extLst>
              <a:ext uri="{FF2B5EF4-FFF2-40B4-BE49-F238E27FC236}">
                <a16:creationId xmlns:a16="http://schemas.microsoft.com/office/drawing/2014/main" id="{E89EFE9D-852C-7C42-565A-30522A255E78}"/>
              </a:ext>
            </a:extLst>
          </p:cNvPr>
          <p:cNvPicPr>
            <a:picLocks noChangeAspect="1"/>
          </p:cNvPicPr>
          <p:nvPr/>
        </p:nvPicPr>
        <p:blipFill>
          <a:blip r:embed="rId6"/>
          <a:srcRect l="18266" t="13484" r="14504" b="9002"/>
          <a:stretch>
            <a:fillRect/>
          </a:stretch>
        </p:blipFill>
        <p:spPr>
          <a:xfrm>
            <a:off x="6599225" y="528985"/>
            <a:ext cx="5145735" cy="5195814"/>
          </a:xfrm>
          <a:prstGeom prst="ellipse">
            <a:avLst/>
          </a:prstGeom>
        </p:spPr>
      </p:pic>
      <p:sp>
        <p:nvSpPr>
          <p:cNvPr id="7" name="CaixaDeTexto 6">
            <a:extLst>
              <a:ext uri="{FF2B5EF4-FFF2-40B4-BE49-F238E27FC236}">
                <a16:creationId xmlns:a16="http://schemas.microsoft.com/office/drawing/2014/main" id="{CF6EB3D8-0446-A3CE-B502-DC7344FACB83}"/>
              </a:ext>
            </a:extLst>
          </p:cNvPr>
          <p:cNvSpPr txBox="1"/>
          <p:nvPr/>
        </p:nvSpPr>
        <p:spPr>
          <a:xfrm>
            <a:off x="689837" y="3212745"/>
            <a:ext cx="5145734" cy="76944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sz="4400" b="1" i="0" u="none" strike="noStrike" baseline="0" dirty="0">
                <a:solidFill>
                  <a:schemeClr val="bg1"/>
                </a:solidFill>
                <a:latin typeface="Candara" panose="020E0502030303020204" pitchFamily="34" charset="0"/>
              </a:rPr>
              <a:t>WAP ROBOT W3000 </a:t>
            </a:r>
            <a:endParaRPr lang="pt-BR" sz="4400" dirty="0">
              <a:solidFill>
                <a:schemeClr val="bg1"/>
              </a:solidFill>
              <a:latin typeface="Candara" panose="020E0502030303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44546903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4508F2D1-6B76-DF78-A1E5-507C12A82E2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m 2" descr="Interface gráfica do usuário&#10;&#10;O conteúdo gerado por IA pode estar incorreto.">
            <a:extLst>
              <a:ext uri="{FF2B5EF4-FFF2-40B4-BE49-F238E27FC236}">
                <a16:creationId xmlns:a16="http://schemas.microsoft.com/office/drawing/2014/main" id="{DCA9327A-BB16-E5AA-7767-4F7698C1DBF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6447" y="248306"/>
            <a:ext cx="1371600" cy="561358"/>
          </a:xfrm>
          <a:prstGeom prst="rect">
            <a:avLst/>
          </a:prstGeom>
        </p:spPr>
      </p:pic>
      <p:pic>
        <p:nvPicPr>
          <p:cNvPr id="1026" name="Picture 2" descr="logo claro PNG &amp; clipart images | Citypng">
            <a:extLst>
              <a:ext uri="{FF2B5EF4-FFF2-40B4-BE49-F238E27FC236}">
                <a16:creationId xmlns:a16="http://schemas.microsoft.com/office/drawing/2014/main" id="{D1F4B23A-5A41-745F-0D62-36ACE37427B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ackgroundRemoval t="8875" b="90500" l="9625" r="90375">
                        <a14:foregroundMark x1="35125" y1="42750" x2="35125" y2="42750"/>
                        <a14:foregroundMark x1="35250" y1="45125" x2="33750" y2="54125"/>
                        <a14:foregroundMark x1="33750" y1="54125" x2="41375" y2="48750"/>
                        <a14:foregroundMark x1="41375" y1="48750" x2="36875" y2="40375"/>
                        <a14:foregroundMark x1="36875" y1="40375" x2="31375" y2="43625"/>
                        <a14:foregroundMark x1="22000" y1="41875" x2="12375" y2="50500"/>
                        <a14:foregroundMark x1="12375" y1="50500" x2="25625" y2="62375"/>
                        <a14:foregroundMark x1="25625" y1="62375" x2="52750" y2="64125"/>
                        <a14:foregroundMark x1="52750" y1="64125" x2="73500" y2="62500"/>
                        <a14:foregroundMark x1="73500" y1="62500" x2="87375" y2="56375"/>
                        <a14:foregroundMark x1="87375" y1="56375" x2="87125" y2="45625"/>
                        <a14:foregroundMark x1="87125" y1="45625" x2="84625" y2="37625"/>
                        <a14:foregroundMark x1="84625" y1="37625" x2="76500" y2="32125"/>
                        <a14:foregroundMark x1="76500" y1="32125" x2="57500" y2="27250"/>
                        <a14:foregroundMark x1="57500" y1="27250" x2="20250" y2="28750"/>
                        <a14:foregroundMark x1="20250" y1="28750" x2="15750" y2="38375"/>
                        <a14:foregroundMark x1="15750" y1="38375" x2="12250" y2="41125"/>
                        <a14:foregroundMark x1="28375" y1="36125" x2="17625" y2="48125"/>
                        <a14:foregroundMark x1="17625" y1="48125" x2="23875" y2="57625"/>
                        <a14:foregroundMark x1="23875" y1="57625" x2="34500" y2="44000"/>
                        <a14:foregroundMark x1="34500" y1="44000" x2="21250" y2="39375"/>
                        <a14:foregroundMark x1="21250" y1="39375" x2="19250" y2="41250"/>
                        <a14:foregroundMark x1="26250" y1="40250" x2="27375" y2="52750"/>
                        <a14:foregroundMark x1="27375" y1="52750" x2="28875" y2="40125"/>
                        <a14:foregroundMark x1="28875" y1="40125" x2="18750" y2="45500"/>
                        <a14:foregroundMark x1="18750" y1="45500" x2="20750" y2="48625"/>
                        <a14:foregroundMark x1="26875" y1="40625" x2="27375" y2="58250"/>
                        <a14:foregroundMark x1="27375" y1="58250" x2="30625" y2="48375"/>
                        <a14:foregroundMark x1="30625" y1="48375" x2="20375" y2="51125"/>
                        <a14:foregroundMark x1="20375" y1="51125" x2="20375" y2="52375"/>
                        <a14:foregroundMark x1="19125" y1="42500" x2="25500" y2="55125"/>
                        <a14:foregroundMark x1="25500" y1="55125" x2="25125" y2="59500"/>
                        <a14:foregroundMark x1="22250" y1="56750" x2="21750" y2="58125"/>
                        <a14:foregroundMark x1="38500" y1="39875" x2="29750" y2="53250"/>
                        <a14:foregroundMark x1="29750" y1="53250" x2="34875" y2="62125"/>
                        <a14:foregroundMark x1="34875" y1="62125" x2="39750" y2="49375"/>
                        <a14:foregroundMark x1="39750" y1="49375" x2="36125" y2="43000"/>
                        <a14:foregroundMark x1="43375" y1="42375" x2="41000" y2="60750"/>
                        <a14:foregroundMark x1="41000" y1="60750" x2="51625" y2="47750"/>
                        <a14:foregroundMark x1="51625" y1="47750" x2="43375" y2="46875"/>
                        <a14:foregroundMark x1="43375" y1="46875" x2="41375" y2="48000"/>
                        <a14:foregroundMark x1="47125" y1="50750" x2="48375" y2="59000"/>
                        <a14:foregroundMark x1="48375" y1="59000" x2="45125" y2="53500"/>
                        <a14:foregroundMark x1="53625" y1="43250" x2="52125" y2="50125"/>
                        <a14:foregroundMark x1="52125" y1="50125" x2="54125" y2="58375"/>
                        <a14:foregroundMark x1="54125" y1="58375" x2="58125" y2="50500"/>
                        <a14:foregroundMark x1="58125" y1="50500" x2="53250" y2="45125"/>
                        <a14:foregroundMark x1="53250" y1="45125" x2="51500" y2="45375"/>
                        <a14:foregroundMark x1="58625" y1="42000" x2="59750" y2="52125"/>
                        <a14:foregroundMark x1="59750" y1="52125" x2="57750" y2="45000"/>
                        <a14:foregroundMark x1="63000" y1="45375" x2="61000" y2="62375"/>
                        <a14:foregroundMark x1="61000" y1="62375" x2="73375" y2="56375"/>
                        <a14:foregroundMark x1="73375" y1="56375" x2="72000" y2="45625"/>
                        <a14:foregroundMark x1="72000" y1="45625" x2="64375" y2="43500"/>
                        <a14:foregroundMark x1="64375" y1="43500" x2="61750" y2="33375"/>
                        <a14:foregroundMark x1="61750" y1="33375" x2="72625" y2="31250"/>
                        <a14:foregroundMark x1="72625" y1="31250" x2="67750" y2="44000"/>
                        <a14:foregroundMark x1="67750" y1="44000" x2="73125" y2="38125"/>
                        <a14:foregroundMark x1="73125" y1="38125" x2="81750" y2="37125"/>
                        <a14:foregroundMark x1="81750" y1="37125" x2="77625" y2="50250"/>
                        <a14:foregroundMark x1="77625" y1="50250" x2="81750" y2="52375"/>
                        <a14:foregroundMark x1="68875" y1="31750" x2="67125" y2="43250"/>
                        <a14:foregroundMark x1="67125" y1="43250" x2="69125" y2="34625"/>
                        <a14:foregroundMark x1="78750" y1="32500" x2="75250" y2="44500"/>
                        <a14:foregroundMark x1="75250" y1="44500" x2="79875" y2="36750"/>
                        <a14:foregroundMark x1="79875" y1="36750" x2="76875" y2="36375"/>
                        <a14:foregroundMark x1="78750" y1="46625" x2="80125" y2="55500"/>
                        <a14:foregroundMark x1="80125" y1="55500" x2="80750" y2="46125"/>
                        <a14:foregroundMark x1="80750" y1="46125" x2="77750" y2="45875"/>
                        <a14:foregroundMark x1="90375" y1="44000" x2="88750" y2="56375"/>
                        <a14:foregroundMark x1="45750" y1="10250" x2="57875" y2="11500"/>
                        <a14:foregroundMark x1="54125" y1="8875" x2="53500" y2="9125"/>
                        <a14:foregroundMark x1="49500" y1="90500" x2="54125" y2="89500"/>
                        <a14:foregroundMark x1="9625" y1="49625" x2="11000" y2="47125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3256" t="7288" r="7881" b="3666"/>
          <a:stretch>
            <a:fillRect/>
          </a:stretch>
        </p:blipFill>
        <p:spPr bwMode="auto">
          <a:xfrm>
            <a:off x="11238614" y="5890437"/>
            <a:ext cx="733648" cy="7351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Imagem 3" descr="Uma imagem contendo mesa, no interior, janela, prato&#10;&#10;O conteúdo gerado por IA pode estar incorreto.">
            <a:extLst>
              <a:ext uri="{FF2B5EF4-FFF2-40B4-BE49-F238E27FC236}">
                <a16:creationId xmlns:a16="http://schemas.microsoft.com/office/drawing/2014/main" id="{FFA5F517-3AF7-EE4F-837F-7F80BBB58869}"/>
              </a:ext>
            </a:extLst>
          </p:cNvPr>
          <p:cNvPicPr>
            <a:picLocks noChangeAspect="1"/>
          </p:cNvPicPr>
          <p:nvPr/>
        </p:nvPicPr>
        <p:blipFill>
          <a:blip r:embed="rId6"/>
          <a:srcRect t="9443"/>
          <a:stretch>
            <a:fillRect/>
          </a:stretch>
        </p:blipFill>
        <p:spPr>
          <a:xfrm>
            <a:off x="6441669" y="1442329"/>
            <a:ext cx="5341804" cy="4294233"/>
          </a:xfrm>
          <a:prstGeom prst="roundRect">
            <a:avLst/>
          </a:prstGeom>
        </p:spPr>
      </p:pic>
      <p:pic>
        <p:nvPicPr>
          <p:cNvPr id="6" name="Imagem 5" descr="Cd em superfície branca&#10;&#10;O conteúdo gerado por IA pode estar incorreto.">
            <a:extLst>
              <a:ext uri="{FF2B5EF4-FFF2-40B4-BE49-F238E27FC236}">
                <a16:creationId xmlns:a16="http://schemas.microsoft.com/office/drawing/2014/main" id="{F63BFBD2-F8E2-8073-C077-9E5A7F78203A}"/>
              </a:ext>
            </a:extLst>
          </p:cNvPr>
          <p:cNvPicPr>
            <a:picLocks noChangeAspect="1"/>
          </p:cNvPicPr>
          <p:nvPr/>
        </p:nvPicPr>
        <p:blipFill>
          <a:blip r:embed="rId7"/>
          <a:srcRect l="18266" t="13484" r="14504" b="9002"/>
          <a:stretch>
            <a:fillRect/>
          </a:stretch>
        </p:blipFill>
        <p:spPr>
          <a:xfrm>
            <a:off x="11092593" y="259374"/>
            <a:ext cx="822960" cy="830969"/>
          </a:xfrm>
          <a:prstGeom prst="ellipse">
            <a:avLst/>
          </a:prstGeom>
        </p:spPr>
      </p:pic>
      <p:sp>
        <p:nvSpPr>
          <p:cNvPr id="10" name="CaixaDeTexto 9">
            <a:extLst>
              <a:ext uri="{FF2B5EF4-FFF2-40B4-BE49-F238E27FC236}">
                <a16:creationId xmlns:a16="http://schemas.microsoft.com/office/drawing/2014/main" id="{462EE263-FF38-19D5-CB9A-A92B1C475D84}"/>
              </a:ext>
            </a:extLst>
          </p:cNvPr>
          <p:cNvSpPr txBox="1"/>
          <p:nvPr/>
        </p:nvSpPr>
        <p:spPr>
          <a:xfrm>
            <a:off x="7824378" y="413248"/>
            <a:ext cx="5145734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sz="2800" b="1" i="0" u="none" strike="noStrike" baseline="0" dirty="0">
                <a:solidFill>
                  <a:schemeClr val="bg1"/>
                </a:solidFill>
                <a:latin typeface="Candara" panose="020E0502030303020204" pitchFamily="34" charset="0"/>
              </a:rPr>
              <a:t>WAP ROBOT W3000 </a:t>
            </a:r>
            <a:endParaRPr lang="pt-BR" sz="2800" dirty="0">
              <a:solidFill>
                <a:schemeClr val="bg1"/>
              </a:solidFill>
              <a:latin typeface="Candara" panose="020E0502030303020204" pitchFamily="34" charset="0"/>
            </a:endParaRPr>
          </a:p>
        </p:txBody>
      </p:sp>
      <p:sp>
        <p:nvSpPr>
          <p:cNvPr id="12" name="CaixaDeTexto 11">
            <a:extLst>
              <a:ext uri="{FF2B5EF4-FFF2-40B4-BE49-F238E27FC236}">
                <a16:creationId xmlns:a16="http://schemas.microsoft.com/office/drawing/2014/main" id="{3D7154CD-5DC2-6E97-7B8F-E837F1E9FE40}"/>
              </a:ext>
            </a:extLst>
          </p:cNvPr>
          <p:cNvSpPr txBox="1"/>
          <p:nvPr/>
        </p:nvSpPr>
        <p:spPr>
          <a:xfrm>
            <a:off x="619760" y="2378392"/>
            <a:ext cx="5202149" cy="193899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r>
              <a:rPr lang="pt-BR" sz="2400" b="1" i="0" u="none" strike="noStrike" baseline="0" dirty="0">
                <a:solidFill>
                  <a:schemeClr val="bg1"/>
                </a:solidFill>
                <a:latin typeface="Candara" panose="020E0502030303020204" pitchFamily="34" charset="0"/>
              </a:rPr>
              <a:t>O W3000 não sai limpando</a:t>
            </a:r>
          </a:p>
          <a:p>
            <a:pPr algn="l"/>
            <a:r>
              <a:rPr lang="pt-BR" sz="2400" b="1" i="0" u="none" strike="noStrike" baseline="0" dirty="0">
                <a:solidFill>
                  <a:schemeClr val="bg1"/>
                </a:solidFill>
                <a:latin typeface="Candara" panose="020E0502030303020204" pitchFamily="34" charset="0"/>
              </a:rPr>
              <a:t>aleatoriamente. Ele mapeia a</a:t>
            </a:r>
          </a:p>
          <a:p>
            <a:pPr algn="l"/>
            <a:r>
              <a:rPr lang="pt-BR" sz="2400" b="1" i="0" u="none" strike="noStrike" baseline="0" dirty="0">
                <a:solidFill>
                  <a:schemeClr val="bg1"/>
                </a:solidFill>
                <a:latin typeface="Candara" panose="020E0502030303020204" pitchFamily="34" charset="0"/>
              </a:rPr>
              <a:t>casa com tecnologia LDS +</a:t>
            </a:r>
          </a:p>
          <a:p>
            <a:pPr algn="l"/>
            <a:r>
              <a:rPr lang="pt-BR" sz="2400" b="1" i="0" u="none" strike="noStrike" baseline="0" dirty="0">
                <a:solidFill>
                  <a:schemeClr val="bg1"/>
                </a:solidFill>
                <a:latin typeface="Candara" panose="020E0502030303020204" pitchFamily="34" charset="0"/>
              </a:rPr>
              <a:t>SLAM, reconhece os cômodos</a:t>
            </a:r>
          </a:p>
          <a:p>
            <a:pPr algn="l"/>
            <a:r>
              <a:rPr lang="pt-BR" sz="2400" b="1" i="0" u="none" strike="noStrike" baseline="0" dirty="0">
                <a:solidFill>
                  <a:schemeClr val="bg1"/>
                </a:solidFill>
                <a:latin typeface="Candara" panose="020E0502030303020204" pitchFamily="34" charset="0"/>
              </a:rPr>
              <a:t>e traça a melhor rota.</a:t>
            </a:r>
            <a:endParaRPr lang="pt-BR" sz="2400" dirty="0">
              <a:solidFill>
                <a:schemeClr val="bg1"/>
              </a:solidFill>
              <a:latin typeface="Candara" panose="020E0502030303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66748673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DCEA1185-DFFA-AB8B-22E4-3591F61C062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m 2" descr="Interface gráfica do usuário&#10;&#10;O conteúdo gerado por IA pode estar incorreto.">
            <a:extLst>
              <a:ext uri="{FF2B5EF4-FFF2-40B4-BE49-F238E27FC236}">
                <a16:creationId xmlns:a16="http://schemas.microsoft.com/office/drawing/2014/main" id="{14A138BE-FEBF-30A4-4C80-CA2CAB3E22C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6447" y="248306"/>
            <a:ext cx="1371600" cy="561358"/>
          </a:xfrm>
          <a:prstGeom prst="rect">
            <a:avLst/>
          </a:prstGeom>
        </p:spPr>
      </p:pic>
      <p:pic>
        <p:nvPicPr>
          <p:cNvPr id="1026" name="Picture 2" descr="logo claro PNG &amp; clipart images | Citypng">
            <a:extLst>
              <a:ext uri="{FF2B5EF4-FFF2-40B4-BE49-F238E27FC236}">
                <a16:creationId xmlns:a16="http://schemas.microsoft.com/office/drawing/2014/main" id="{6BE47DC4-3894-2A8E-F849-3420EE635D06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ackgroundRemoval t="8875" b="90500" l="9625" r="90375">
                        <a14:foregroundMark x1="35125" y1="42750" x2="35125" y2="42750"/>
                        <a14:foregroundMark x1="35250" y1="45125" x2="33750" y2="54125"/>
                        <a14:foregroundMark x1="33750" y1="54125" x2="41375" y2="48750"/>
                        <a14:foregroundMark x1="41375" y1="48750" x2="36875" y2="40375"/>
                        <a14:foregroundMark x1="36875" y1="40375" x2="31375" y2="43625"/>
                        <a14:foregroundMark x1="22000" y1="41875" x2="12375" y2="50500"/>
                        <a14:foregroundMark x1="12375" y1="50500" x2="25625" y2="62375"/>
                        <a14:foregroundMark x1="25625" y1="62375" x2="52750" y2="64125"/>
                        <a14:foregroundMark x1="52750" y1="64125" x2="73500" y2="62500"/>
                        <a14:foregroundMark x1="73500" y1="62500" x2="87375" y2="56375"/>
                        <a14:foregroundMark x1="87375" y1="56375" x2="87125" y2="45625"/>
                        <a14:foregroundMark x1="87125" y1="45625" x2="84625" y2="37625"/>
                        <a14:foregroundMark x1="84625" y1="37625" x2="76500" y2="32125"/>
                        <a14:foregroundMark x1="76500" y1="32125" x2="57500" y2="27250"/>
                        <a14:foregroundMark x1="57500" y1="27250" x2="20250" y2="28750"/>
                        <a14:foregroundMark x1="20250" y1="28750" x2="15750" y2="38375"/>
                        <a14:foregroundMark x1="15750" y1="38375" x2="12250" y2="41125"/>
                        <a14:foregroundMark x1="28375" y1="36125" x2="17625" y2="48125"/>
                        <a14:foregroundMark x1="17625" y1="48125" x2="23875" y2="57625"/>
                        <a14:foregroundMark x1="23875" y1="57625" x2="34500" y2="44000"/>
                        <a14:foregroundMark x1="34500" y1="44000" x2="21250" y2="39375"/>
                        <a14:foregroundMark x1="21250" y1="39375" x2="19250" y2="41250"/>
                        <a14:foregroundMark x1="26250" y1="40250" x2="27375" y2="52750"/>
                        <a14:foregroundMark x1="27375" y1="52750" x2="28875" y2="40125"/>
                        <a14:foregroundMark x1="28875" y1="40125" x2="18750" y2="45500"/>
                        <a14:foregroundMark x1="18750" y1="45500" x2="20750" y2="48625"/>
                        <a14:foregroundMark x1="26875" y1="40625" x2="27375" y2="58250"/>
                        <a14:foregroundMark x1="27375" y1="58250" x2="30625" y2="48375"/>
                        <a14:foregroundMark x1="30625" y1="48375" x2="20375" y2="51125"/>
                        <a14:foregroundMark x1="20375" y1="51125" x2="20375" y2="52375"/>
                        <a14:foregroundMark x1="19125" y1="42500" x2="25500" y2="55125"/>
                        <a14:foregroundMark x1="25500" y1="55125" x2="25125" y2="59500"/>
                        <a14:foregroundMark x1="22250" y1="56750" x2="21750" y2="58125"/>
                        <a14:foregroundMark x1="38500" y1="39875" x2="29750" y2="53250"/>
                        <a14:foregroundMark x1="29750" y1="53250" x2="34875" y2="62125"/>
                        <a14:foregroundMark x1="34875" y1="62125" x2="39750" y2="49375"/>
                        <a14:foregroundMark x1="39750" y1="49375" x2="36125" y2="43000"/>
                        <a14:foregroundMark x1="43375" y1="42375" x2="41000" y2="60750"/>
                        <a14:foregroundMark x1="41000" y1="60750" x2="51625" y2="47750"/>
                        <a14:foregroundMark x1="51625" y1="47750" x2="43375" y2="46875"/>
                        <a14:foregroundMark x1="43375" y1="46875" x2="41375" y2="48000"/>
                        <a14:foregroundMark x1="47125" y1="50750" x2="48375" y2="59000"/>
                        <a14:foregroundMark x1="48375" y1="59000" x2="45125" y2="53500"/>
                        <a14:foregroundMark x1="53625" y1="43250" x2="52125" y2="50125"/>
                        <a14:foregroundMark x1="52125" y1="50125" x2="54125" y2="58375"/>
                        <a14:foregroundMark x1="54125" y1="58375" x2="58125" y2="50500"/>
                        <a14:foregroundMark x1="58125" y1="50500" x2="53250" y2="45125"/>
                        <a14:foregroundMark x1="53250" y1="45125" x2="51500" y2="45375"/>
                        <a14:foregroundMark x1="58625" y1="42000" x2="59750" y2="52125"/>
                        <a14:foregroundMark x1="59750" y1="52125" x2="57750" y2="45000"/>
                        <a14:foregroundMark x1="63000" y1="45375" x2="61000" y2="62375"/>
                        <a14:foregroundMark x1="61000" y1="62375" x2="73375" y2="56375"/>
                        <a14:foregroundMark x1="73375" y1="56375" x2="72000" y2="45625"/>
                        <a14:foregroundMark x1="72000" y1="45625" x2="64375" y2="43500"/>
                        <a14:foregroundMark x1="64375" y1="43500" x2="61750" y2="33375"/>
                        <a14:foregroundMark x1="61750" y1="33375" x2="72625" y2="31250"/>
                        <a14:foregroundMark x1="72625" y1="31250" x2="67750" y2="44000"/>
                        <a14:foregroundMark x1="67750" y1="44000" x2="73125" y2="38125"/>
                        <a14:foregroundMark x1="73125" y1="38125" x2="81750" y2="37125"/>
                        <a14:foregroundMark x1="81750" y1="37125" x2="77625" y2="50250"/>
                        <a14:foregroundMark x1="77625" y1="50250" x2="81750" y2="52375"/>
                        <a14:foregroundMark x1="68875" y1="31750" x2="67125" y2="43250"/>
                        <a14:foregroundMark x1="67125" y1="43250" x2="69125" y2="34625"/>
                        <a14:foregroundMark x1="78750" y1="32500" x2="75250" y2="44500"/>
                        <a14:foregroundMark x1="75250" y1="44500" x2="79875" y2="36750"/>
                        <a14:foregroundMark x1="79875" y1="36750" x2="76875" y2="36375"/>
                        <a14:foregroundMark x1="78750" y1="46625" x2="80125" y2="55500"/>
                        <a14:foregroundMark x1="80125" y1="55500" x2="80750" y2="46125"/>
                        <a14:foregroundMark x1="80750" y1="46125" x2="77750" y2="45875"/>
                        <a14:foregroundMark x1="90375" y1="44000" x2="88750" y2="56375"/>
                        <a14:foregroundMark x1="45750" y1="10250" x2="57875" y2="11500"/>
                        <a14:foregroundMark x1="54125" y1="8875" x2="53500" y2="9125"/>
                        <a14:foregroundMark x1="49500" y1="90500" x2="54125" y2="89500"/>
                        <a14:foregroundMark x1="9625" y1="49625" x2="11000" y2="47125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3256" t="7288" r="7881" b="3666"/>
          <a:stretch>
            <a:fillRect/>
          </a:stretch>
        </p:blipFill>
        <p:spPr bwMode="auto">
          <a:xfrm>
            <a:off x="11238614" y="5890437"/>
            <a:ext cx="733648" cy="7351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Imagem 5" descr="Cd em superfície branca&#10;&#10;O conteúdo gerado por IA pode estar incorreto.">
            <a:extLst>
              <a:ext uri="{FF2B5EF4-FFF2-40B4-BE49-F238E27FC236}">
                <a16:creationId xmlns:a16="http://schemas.microsoft.com/office/drawing/2014/main" id="{27514F26-38D1-749E-8F4D-55A6CBFD691E}"/>
              </a:ext>
            </a:extLst>
          </p:cNvPr>
          <p:cNvPicPr>
            <a:picLocks noChangeAspect="1"/>
          </p:cNvPicPr>
          <p:nvPr/>
        </p:nvPicPr>
        <p:blipFill>
          <a:blip r:embed="rId6"/>
          <a:srcRect l="18266" t="13484" r="14504" b="9002"/>
          <a:stretch>
            <a:fillRect/>
          </a:stretch>
        </p:blipFill>
        <p:spPr>
          <a:xfrm>
            <a:off x="11092593" y="259374"/>
            <a:ext cx="822960" cy="830969"/>
          </a:xfrm>
          <a:prstGeom prst="ellipse">
            <a:avLst/>
          </a:prstGeom>
        </p:spPr>
      </p:pic>
      <p:sp>
        <p:nvSpPr>
          <p:cNvPr id="10" name="CaixaDeTexto 9">
            <a:extLst>
              <a:ext uri="{FF2B5EF4-FFF2-40B4-BE49-F238E27FC236}">
                <a16:creationId xmlns:a16="http://schemas.microsoft.com/office/drawing/2014/main" id="{C0D6367F-83BE-D763-41A4-EC2E6AA4DF2C}"/>
              </a:ext>
            </a:extLst>
          </p:cNvPr>
          <p:cNvSpPr txBox="1"/>
          <p:nvPr/>
        </p:nvSpPr>
        <p:spPr>
          <a:xfrm>
            <a:off x="7824378" y="413248"/>
            <a:ext cx="5145734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sz="2800" b="1" i="0" u="none" strike="noStrike" baseline="0" dirty="0">
                <a:solidFill>
                  <a:schemeClr val="bg1"/>
                </a:solidFill>
                <a:latin typeface="Candara" panose="020E0502030303020204" pitchFamily="34" charset="0"/>
              </a:rPr>
              <a:t>WAP ROBOT W3000 </a:t>
            </a:r>
            <a:endParaRPr lang="pt-BR" sz="2800" dirty="0">
              <a:solidFill>
                <a:schemeClr val="bg1"/>
              </a:solidFill>
              <a:latin typeface="Candara" panose="020E0502030303020204" pitchFamily="34" charset="0"/>
            </a:endParaRPr>
          </a:p>
        </p:txBody>
      </p:sp>
      <p:sp>
        <p:nvSpPr>
          <p:cNvPr id="12" name="CaixaDeTexto 11">
            <a:extLst>
              <a:ext uri="{FF2B5EF4-FFF2-40B4-BE49-F238E27FC236}">
                <a16:creationId xmlns:a16="http://schemas.microsoft.com/office/drawing/2014/main" id="{47C378A5-E3D1-17B9-1D5B-9732F0E014ED}"/>
              </a:ext>
            </a:extLst>
          </p:cNvPr>
          <p:cNvSpPr txBox="1"/>
          <p:nvPr/>
        </p:nvSpPr>
        <p:spPr>
          <a:xfrm>
            <a:off x="6908800" y="2122990"/>
            <a:ext cx="4483278" cy="224676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/>
            <a:r>
              <a:rPr lang="pt-BR" sz="2800" b="1" dirty="0">
                <a:solidFill>
                  <a:schemeClr val="bg1"/>
                </a:solidFill>
                <a:latin typeface="Candara" panose="020E0502030303020204" pitchFamily="34" charset="0"/>
              </a:rPr>
              <a:t>Via app WAP CONNECT,</a:t>
            </a:r>
          </a:p>
          <a:p>
            <a:pPr algn="r"/>
            <a:r>
              <a:rPr lang="pt-BR" sz="2800" b="1" dirty="0">
                <a:solidFill>
                  <a:schemeClr val="bg1"/>
                </a:solidFill>
                <a:latin typeface="Candara" panose="020E0502030303020204" pitchFamily="34" charset="0"/>
              </a:rPr>
              <a:t>controle remoto ou comando</a:t>
            </a:r>
          </a:p>
          <a:p>
            <a:pPr algn="r"/>
            <a:r>
              <a:rPr lang="pt-BR" sz="2800" b="1" dirty="0">
                <a:solidFill>
                  <a:schemeClr val="bg1"/>
                </a:solidFill>
                <a:latin typeface="Candara" panose="020E0502030303020204" pitchFamily="34" charset="0"/>
              </a:rPr>
              <a:t>de voz com </a:t>
            </a:r>
            <a:r>
              <a:rPr lang="pt-BR" sz="2800" b="1" dirty="0" err="1">
                <a:solidFill>
                  <a:schemeClr val="bg1"/>
                </a:solidFill>
                <a:latin typeface="Candara" panose="020E0502030303020204" pitchFamily="34" charset="0"/>
              </a:rPr>
              <a:t>Alexa</a:t>
            </a:r>
            <a:r>
              <a:rPr lang="pt-BR" sz="2800" b="1" dirty="0">
                <a:solidFill>
                  <a:schemeClr val="bg1"/>
                </a:solidFill>
                <a:latin typeface="Candara" panose="020E0502030303020204" pitchFamily="34" charset="0"/>
              </a:rPr>
              <a:t> e Google Assistente.</a:t>
            </a:r>
            <a:endParaRPr lang="pt-BR" sz="3600" dirty="0">
              <a:solidFill>
                <a:schemeClr val="bg1"/>
              </a:solidFill>
              <a:latin typeface="Candara" panose="020E0502030303020204" pitchFamily="34" charset="0"/>
            </a:endParaRPr>
          </a:p>
        </p:txBody>
      </p:sp>
      <p:pic>
        <p:nvPicPr>
          <p:cNvPr id="8" name="Imagem 7" descr="Mão segurando telefone celular na mão&#10;&#10;O conteúdo gerado por IA pode estar incorreto.">
            <a:extLst>
              <a:ext uri="{FF2B5EF4-FFF2-40B4-BE49-F238E27FC236}">
                <a16:creationId xmlns:a16="http://schemas.microsoft.com/office/drawing/2014/main" id="{E9B9BA8A-829D-7013-C2A3-C587C1F19766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76446" y="1383493"/>
            <a:ext cx="5372513" cy="4629506"/>
          </a:xfrm>
          <a:prstGeom prst="roundRect">
            <a:avLst/>
          </a:prstGeom>
        </p:spPr>
      </p:pic>
      <p:pic>
        <p:nvPicPr>
          <p:cNvPr id="9" name="Picture 2" descr="Png Asistente De Google Amazon De Alexa Echo Dot Como Se Llama El Asistente  De Amazon">
            <a:extLst>
              <a:ext uri="{FF2B5EF4-FFF2-40B4-BE49-F238E27FC236}">
                <a16:creationId xmlns:a16="http://schemas.microsoft.com/office/drawing/2014/main" id="{0CE56106-FF1D-093B-904B-3588335427BF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688" t="5560" r="5186" b="9668"/>
          <a:stretch>
            <a:fillRect/>
          </a:stretch>
        </p:blipFill>
        <p:spPr bwMode="auto">
          <a:xfrm>
            <a:off x="10140193" y="4511522"/>
            <a:ext cx="1098421" cy="1044759"/>
          </a:xfrm>
          <a:prstGeom prst="round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744072889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21DF81A6-8AC1-9968-C694-46279C936A0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m 2" descr="Interface gráfica do usuário&#10;&#10;O conteúdo gerado por IA pode estar incorreto.">
            <a:extLst>
              <a:ext uri="{FF2B5EF4-FFF2-40B4-BE49-F238E27FC236}">
                <a16:creationId xmlns:a16="http://schemas.microsoft.com/office/drawing/2014/main" id="{9BDF7A88-9A8D-BFB5-33E8-418748763F8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6447" y="248306"/>
            <a:ext cx="1371600" cy="561358"/>
          </a:xfrm>
          <a:prstGeom prst="rect">
            <a:avLst/>
          </a:prstGeom>
        </p:spPr>
      </p:pic>
      <p:pic>
        <p:nvPicPr>
          <p:cNvPr id="1026" name="Picture 2" descr="logo claro PNG &amp; clipart images | Citypng">
            <a:extLst>
              <a:ext uri="{FF2B5EF4-FFF2-40B4-BE49-F238E27FC236}">
                <a16:creationId xmlns:a16="http://schemas.microsoft.com/office/drawing/2014/main" id="{9E960CAA-F412-5D47-AEFA-A960F6F82C5A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ackgroundRemoval t="8875" b="90500" l="9625" r="90375">
                        <a14:foregroundMark x1="35125" y1="42750" x2="35125" y2="42750"/>
                        <a14:foregroundMark x1="35250" y1="45125" x2="33750" y2="54125"/>
                        <a14:foregroundMark x1="33750" y1="54125" x2="41375" y2="48750"/>
                        <a14:foregroundMark x1="41375" y1="48750" x2="36875" y2="40375"/>
                        <a14:foregroundMark x1="36875" y1="40375" x2="31375" y2="43625"/>
                        <a14:foregroundMark x1="22000" y1="41875" x2="12375" y2="50500"/>
                        <a14:foregroundMark x1="12375" y1="50500" x2="25625" y2="62375"/>
                        <a14:foregroundMark x1="25625" y1="62375" x2="52750" y2="64125"/>
                        <a14:foregroundMark x1="52750" y1="64125" x2="73500" y2="62500"/>
                        <a14:foregroundMark x1="73500" y1="62500" x2="87375" y2="56375"/>
                        <a14:foregroundMark x1="87375" y1="56375" x2="87125" y2="45625"/>
                        <a14:foregroundMark x1="87125" y1="45625" x2="84625" y2="37625"/>
                        <a14:foregroundMark x1="84625" y1="37625" x2="76500" y2="32125"/>
                        <a14:foregroundMark x1="76500" y1="32125" x2="57500" y2="27250"/>
                        <a14:foregroundMark x1="57500" y1="27250" x2="20250" y2="28750"/>
                        <a14:foregroundMark x1="20250" y1="28750" x2="15750" y2="38375"/>
                        <a14:foregroundMark x1="15750" y1="38375" x2="12250" y2="41125"/>
                        <a14:foregroundMark x1="28375" y1="36125" x2="17625" y2="48125"/>
                        <a14:foregroundMark x1="17625" y1="48125" x2="23875" y2="57625"/>
                        <a14:foregroundMark x1="23875" y1="57625" x2="34500" y2="44000"/>
                        <a14:foregroundMark x1="34500" y1="44000" x2="21250" y2="39375"/>
                        <a14:foregroundMark x1="21250" y1="39375" x2="19250" y2="41250"/>
                        <a14:foregroundMark x1="26250" y1="40250" x2="27375" y2="52750"/>
                        <a14:foregroundMark x1="27375" y1="52750" x2="28875" y2="40125"/>
                        <a14:foregroundMark x1="28875" y1="40125" x2="18750" y2="45500"/>
                        <a14:foregroundMark x1="18750" y1="45500" x2="20750" y2="48625"/>
                        <a14:foregroundMark x1="26875" y1="40625" x2="27375" y2="58250"/>
                        <a14:foregroundMark x1="27375" y1="58250" x2="30625" y2="48375"/>
                        <a14:foregroundMark x1="30625" y1="48375" x2="20375" y2="51125"/>
                        <a14:foregroundMark x1="20375" y1="51125" x2="20375" y2="52375"/>
                        <a14:foregroundMark x1="19125" y1="42500" x2="25500" y2="55125"/>
                        <a14:foregroundMark x1="25500" y1="55125" x2="25125" y2="59500"/>
                        <a14:foregroundMark x1="22250" y1="56750" x2="21750" y2="58125"/>
                        <a14:foregroundMark x1="38500" y1="39875" x2="29750" y2="53250"/>
                        <a14:foregroundMark x1="29750" y1="53250" x2="34875" y2="62125"/>
                        <a14:foregroundMark x1="34875" y1="62125" x2="39750" y2="49375"/>
                        <a14:foregroundMark x1="39750" y1="49375" x2="36125" y2="43000"/>
                        <a14:foregroundMark x1="43375" y1="42375" x2="41000" y2="60750"/>
                        <a14:foregroundMark x1="41000" y1="60750" x2="51625" y2="47750"/>
                        <a14:foregroundMark x1="51625" y1="47750" x2="43375" y2="46875"/>
                        <a14:foregroundMark x1="43375" y1="46875" x2="41375" y2="48000"/>
                        <a14:foregroundMark x1="47125" y1="50750" x2="48375" y2="59000"/>
                        <a14:foregroundMark x1="48375" y1="59000" x2="45125" y2="53500"/>
                        <a14:foregroundMark x1="53625" y1="43250" x2="52125" y2="50125"/>
                        <a14:foregroundMark x1="52125" y1="50125" x2="54125" y2="58375"/>
                        <a14:foregroundMark x1="54125" y1="58375" x2="58125" y2="50500"/>
                        <a14:foregroundMark x1="58125" y1="50500" x2="53250" y2="45125"/>
                        <a14:foregroundMark x1="53250" y1="45125" x2="51500" y2="45375"/>
                        <a14:foregroundMark x1="58625" y1="42000" x2="59750" y2="52125"/>
                        <a14:foregroundMark x1="59750" y1="52125" x2="57750" y2="45000"/>
                        <a14:foregroundMark x1="63000" y1="45375" x2="61000" y2="62375"/>
                        <a14:foregroundMark x1="61000" y1="62375" x2="73375" y2="56375"/>
                        <a14:foregroundMark x1="73375" y1="56375" x2="72000" y2="45625"/>
                        <a14:foregroundMark x1="72000" y1="45625" x2="64375" y2="43500"/>
                        <a14:foregroundMark x1="64375" y1="43500" x2="61750" y2="33375"/>
                        <a14:foregroundMark x1="61750" y1="33375" x2="72625" y2="31250"/>
                        <a14:foregroundMark x1="72625" y1="31250" x2="67750" y2="44000"/>
                        <a14:foregroundMark x1="67750" y1="44000" x2="73125" y2="38125"/>
                        <a14:foregroundMark x1="73125" y1="38125" x2="81750" y2="37125"/>
                        <a14:foregroundMark x1="81750" y1="37125" x2="77625" y2="50250"/>
                        <a14:foregroundMark x1="77625" y1="50250" x2="81750" y2="52375"/>
                        <a14:foregroundMark x1="68875" y1="31750" x2="67125" y2="43250"/>
                        <a14:foregroundMark x1="67125" y1="43250" x2="69125" y2="34625"/>
                        <a14:foregroundMark x1="78750" y1="32500" x2="75250" y2="44500"/>
                        <a14:foregroundMark x1="75250" y1="44500" x2="79875" y2="36750"/>
                        <a14:foregroundMark x1="79875" y1="36750" x2="76875" y2="36375"/>
                        <a14:foregroundMark x1="78750" y1="46625" x2="80125" y2="55500"/>
                        <a14:foregroundMark x1="80125" y1="55500" x2="80750" y2="46125"/>
                        <a14:foregroundMark x1="80750" y1="46125" x2="77750" y2="45875"/>
                        <a14:foregroundMark x1="90375" y1="44000" x2="88750" y2="56375"/>
                        <a14:foregroundMark x1="45750" y1="10250" x2="57875" y2="11500"/>
                        <a14:foregroundMark x1="54125" y1="8875" x2="53500" y2="9125"/>
                        <a14:foregroundMark x1="49500" y1="90500" x2="54125" y2="89500"/>
                        <a14:foregroundMark x1="9625" y1="49625" x2="11000" y2="47125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3256" t="7288" r="7881" b="3666"/>
          <a:stretch>
            <a:fillRect/>
          </a:stretch>
        </p:blipFill>
        <p:spPr bwMode="auto">
          <a:xfrm>
            <a:off x="11238614" y="5890437"/>
            <a:ext cx="733648" cy="7351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Imagem 5" descr="Cd em superfície branca&#10;&#10;O conteúdo gerado por IA pode estar incorreto.">
            <a:extLst>
              <a:ext uri="{FF2B5EF4-FFF2-40B4-BE49-F238E27FC236}">
                <a16:creationId xmlns:a16="http://schemas.microsoft.com/office/drawing/2014/main" id="{70655076-87A0-4775-94BB-BF967F922B3B}"/>
              </a:ext>
            </a:extLst>
          </p:cNvPr>
          <p:cNvPicPr>
            <a:picLocks noChangeAspect="1"/>
          </p:cNvPicPr>
          <p:nvPr/>
        </p:nvPicPr>
        <p:blipFill>
          <a:blip r:embed="rId6"/>
          <a:srcRect l="18266" t="13484" r="14504" b="9002"/>
          <a:stretch>
            <a:fillRect/>
          </a:stretch>
        </p:blipFill>
        <p:spPr>
          <a:xfrm>
            <a:off x="11092593" y="259374"/>
            <a:ext cx="822960" cy="830969"/>
          </a:xfrm>
          <a:prstGeom prst="ellipse">
            <a:avLst/>
          </a:prstGeom>
        </p:spPr>
      </p:pic>
      <p:sp>
        <p:nvSpPr>
          <p:cNvPr id="10" name="CaixaDeTexto 9">
            <a:extLst>
              <a:ext uri="{FF2B5EF4-FFF2-40B4-BE49-F238E27FC236}">
                <a16:creationId xmlns:a16="http://schemas.microsoft.com/office/drawing/2014/main" id="{A948E09F-2D9B-33FD-7C3B-856EE41A279E}"/>
              </a:ext>
            </a:extLst>
          </p:cNvPr>
          <p:cNvSpPr txBox="1"/>
          <p:nvPr/>
        </p:nvSpPr>
        <p:spPr>
          <a:xfrm>
            <a:off x="7824378" y="413248"/>
            <a:ext cx="5145734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sz="2800" b="1" i="0" u="none" strike="noStrike" baseline="0" dirty="0">
                <a:solidFill>
                  <a:schemeClr val="bg1"/>
                </a:solidFill>
                <a:latin typeface="Candara" panose="020E0502030303020204" pitchFamily="34" charset="0"/>
              </a:rPr>
              <a:t>WAP ROBOT W3000 </a:t>
            </a:r>
            <a:endParaRPr lang="pt-BR" sz="2800" dirty="0">
              <a:solidFill>
                <a:schemeClr val="bg1"/>
              </a:solidFill>
              <a:latin typeface="Candara" panose="020E0502030303020204" pitchFamily="34" charset="0"/>
            </a:endParaRPr>
          </a:p>
        </p:txBody>
      </p:sp>
      <p:pic>
        <p:nvPicPr>
          <p:cNvPr id="4" name="Imagem 3" descr="Interface gráfica do usuário, Texto, Aplicativo, Email&#10;&#10;O conteúdo gerado por IA pode estar incorreto.">
            <a:extLst>
              <a:ext uri="{FF2B5EF4-FFF2-40B4-BE49-F238E27FC236}">
                <a16:creationId xmlns:a16="http://schemas.microsoft.com/office/drawing/2014/main" id="{F882A08E-8F75-2645-CC27-6EB7BF6364E4}"/>
              </a:ext>
            </a:extLst>
          </p:cNvPr>
          <p:cNvPicPr>
            <a:picLocks noChangeAspect="1"/>
          </p:cNvPicPr>
          <p:nvPr/>
        </p:nvPicPr>
        <p:blipFill>
          <a:blip r:embed="rId7"/>
          <a:srcRect t="1562" b="-1"/>
          <a:stretch>
            <a:fillRect/>
          </a:stretch>
        </p:blipFill>
        <p:spPr>
          <a:xfrm>
            <a:off x="772453" y="1182402"/>
            <a:ext cx="4561547" cy="5075618"/>
          </a:xfrm>
          <a:prstGeom prst="roundRect">
            <a:avLst>
              <a:gd name="adj" fmla="val 10027"/>
            </a:avLst>
          </a:prstGeom>
        </p:spPr>
      </p:pic>
      <p:pic>
        <p:nvPicPr>
          <p:cNvPr id="8" name="Imagem 7" descr="Uma mesa de madeira&#10;&#10;O conteúdo gerado por IA pode estar incorreto.">
            <a:extLst>
              <a:ext uri="{FF2B5EF4-FFF2-40B4-BE49-F238E27FC236}">
                <a16:creationId xmlns:a16="http://schemas.microsoft.com/office/drawing/2014/main" id="{9A7CE51B-3FE6-D56F-7C77-40E90F140DA1}"/>
              </a:ext>
            </a:extLst>
          </p:cNvPr>
          <p:cNvPicPr>
            <a:picLocks noChangeAspect="1"/>
          </p:cNvPicPr>
          <p:nvPr/>
        </p:nvPicPr>
        <p:blipFill>
          <a:blip r:embed="rId8"/>
          <a:srcRect l="10784" t="7527" r="1269" b="5297"/>
          <a:stretch>
            <a:fillRect/>
          </a:stretch>
        </p:blipFill>
        <p:spPr>
          <a:xfrm flipH="1">
            <a:off x="5699760" y="1127797"/>
            <a:ext cx="5719787" cy="5041632"/>
          </a:xfrm>
          <a:prstGeom prst="roundRect">
            <a:avLst/>
          </a:prstGeom>
        </p:spPr>
      </p:pic>
    </p:spTree>
    <p:extLst>
      <p:ext uri="{BB962C8B-B14F-4D97-AF65-F5344CB8AC3E}">
        <p14:creationId xmlns:p14="http://schemas.microsoft.com/office/powerpoint/2010/main" val="2328370487"/>
      </p:ext>
    </p:extLst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D5C68912-971B-8CB9-B964-5D0F035284C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m 2" descr="Interface gráfica do usuário&#10;&#10;O conteúdo gerado por IA pode estar incorreto.">
            <a:extLst>
              <a:ext uri="{FF2B5EF4-FFF2-40B4-BE49-F238E27FC236}">
                <a16:creationId xmlns:a16="http://schemas.microsoft.com/office/drawing/2014/main" id="{AEE947BC-BB44-B439-467B-7AAD5FD58C3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6447" y="248306"/>
            <a:ext cx="1371600" cy="561358"/>
          </a:xfrm>
          <a:prstGeom prst="rect">
            <a:avLst/>
          </a:prstGeom>
        </p:spPr>
      </p:pic>
      <p:pic>
        <p:nvPicPr>
          <p:cNvPr id="1026" name="Picture 2" descr="logo claro PNG &amp; clipart images | Citypng">
            <a:extLst>
              <a:ext uri="{FF2B5EF4-FFF2-40B4-BE49-F238E27FC236}">
                <a16:creationId xmlns:a16="http://schemas.microsoft.com/office/drawing/2014/main" id="{54F52CD4-A5FD-1F64-6360-21676050596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ackgroundRemoval t="8875" b="90500" l="9625" r="90375">
                        <a14:foregroundMark x1="35125" y1="42750" x2="35125" y2="42750"/>
                        <a14:foregroundMark x1="35250" y1="45125" x2="33750" y2="54125"/>
                        <a14:foregroundMark x1="33750" y1="54125" x2="41375" y2="48750"/>
                        <a14:foregroundMark x1="41375" y1="48750" x2="36875" y2="40375"/>
                        <a14:foregroundMark x1="36875" y1="40375" x2="31375" y2="43625"/>
                        <a14:foregroundMark x1="22000" y1="41875" x2="12375" y2="50500"/>
                        <a14:foregroundMark x1="12375" y1="50500" x2="25625" y2="62375"/>
                        <a14:foregroundMark x1="25625" y1="62375" x2="52750" y2="64125"/>
                        <a14:foregroundMark x1="52750" y1="64125" x2="73500" y2="62500"/>
                        <a14:foregroundMark x1="73500" y1="62500" x2="87375" y2="56375"/>
                        <a14:foregroundMark x1="87375" y1="56375" x2="87125" y2="45625"/>
                        <a14:foregroundMark x1="87125" y1="45625" x2="84625" y2="37625"/>
                        <a14:foregroundMark x1="84625" y1="37625" x2="76500" y2="32125"/>
                        <a14:foregroundMark x1="76500" y1="32125" x2="57500" y2="27250"/>
                        <a14:foregroundMark x1="57500" y1="27250" x2="20250" y2="28750"/>
                        <a14:foregroundMark x1="20250" y1="28750" x2="15750" y2="38375"/>
                        <a14:foregroundMark x1="15750" y1="38375" x2="12250" y2="41125"/>
                        <a14:foregroundMark x1="28375" y1="36125" x2="17625" y2="48125"/>
                        <a14:foregroundMark x1="17625" y1="48125" x2="23875" y2="57625"/>
                        <a14:foregroundMark x1="23875" y1="57625" x2="34500" y2="44000"/>
                        <a14:foregroundMark x1="34500" y1="44000" x2="21250" y2="39375"/>
                        <a14:foregroundMark x1="21250" y1="39375" x2="19250" y2="41250"/>
                        <a14:foregroundMark x1="26250" y1="40250" x2="27375" y2="52750"/>
                        <a14:foregroundMark x1="27375" y1="52750" x2="28875" y2="40125"/>
                        <a14:foregroundMark x1="28875" y1="40125" x2="18750" y2="45500"/>
                        <a14:foregroundMark x1="18750" y1="45500" x2="20750" y2="48625"/>
                        <a14:foregroundMark x1="26875" y1="40625" x2="27375" y2="58250"/>
                        <a14:foregroundMark x1="27375" y1="58250" x2="30625" y2="48375"/>
                        <a14:foregroundMark x1="30625" y1="48375" x2="20375" y2="51125"/>
                        <a14:foregroundMark x1="20375" y1="51125" x2="20375" y2="52375"/>
                        <a14:foregroundMark x1="19125" y1="42500" x2="25500" y2="55125"/>
                        <a14:foregroundMark x1="25500" y1="55125" x2="25125" y2="59500"/>
                        <a14:foregroundMark x1="22250" y1="56750" x2="21750" y2="58125"/>
                        <a14:foregroundMark x1="38500" y1="39875" x2="29750" y2="53250"/>
                        <a14:foregroundMark x1="29750" y1="53250" x2="34875" y2="62125"/>
                        <a14:foregroundMark x1="34875" y1="62125" x2="39750" y2="49375"/>
                        <a14:foregroundMark x1="39750" y1="49375" x2="36125" y2="43000"/>
                        <a14:foregroundMark x1="43375" y1="42375" x2="41000" y2="60750"/>
                        <a14:foregroundMark x1="41000" y1="60750" x2="51625" y2="47750"/>
                        <a14:foregroundMark x1="51625" y1="47750" x2="43375" y2="46875"/>
                        <a14:foregroundMark x1="43375" y1="46875" x2="41375" y2="48000"/>
                        <a14:foregroundMark x1="47125" y1="50750" x2="48375" y2="59000"/>
                        <a14:foregroundMark x1="48375" y1="59000" x2="45125" y2="53500"/>
                        <a14:foregroundMark x1="53625" y1="43250" x2="52125" y2="50125"/>
                        <a14:foregroundMark x1="52125" y1="50125" x2="54125" y2="58375"/>
                        <a14:foregroundMark x1="54125" y1="58375" x2="58125" y2="50500"/>
                        <a14:foregroundMark x1="58125" y1="50500" x2="53250" y2="45125"/>
                        <a14:foregroundMark x1="53250" y1="45125" x2="51500" y2="45375"/>
                        <a14:foregroundMark x1="58625" y1="42000" x2="59750" y2="52125"/>
                        <a14:foregroundMark x1="59750" y1="52125" x2="57750" y2="45000"/>
                        <a14:foregroundMark x1="63000" y1="45375" x2="61000" y2="62375"/>
                        <a14:foregroundMark x1="61000" y1="62375" x2="73375" y2="56375"/>
                        <a14:foregroundMark x1="73375" y1="56375" x2="72000" y2="45625"/>
                        <a14:foregroundMark x1="72000" y1="45625" x2="64375" y2="43500"/>
                        <a14:foregroundMark x1="64375" y1="43500" x2="61750" y2="33375"/>
                        <a14:foregroundMark x1="61750" y1="33375" x2="72625" y2="31250"/>
                        <a14:foregroundMark x1="72625" y1="31250" x2="67750" y2="44000"/>
                        <a14:foregroundMark x1="67750" y1="44000" x2="73125" y2="38125"/>
                        <a14:foregroundMark x1="73125" y1="38125" x2="81750" y2="37125"/>
                        <a14:foregroundMark x1="81750" y1="37125" x2="77625" y2="50250"/>
                        <a14:foregroundMark x1="77625" y1="50250" x2="81750" y2="52375"/>
                        <a14:foregroundMark x1="68875" y1="31750" x2="67125" y2="43250"/>
                        <a14:foregroundMark x1="67125" y1="43250" x2="69125" y2="34625"/>
                        <a14:foregroundMark x1="78750" y1="32500" x2="75250" y2="44500"/>
                        <a14:foregroundMark x1="75250" y1="44500" x2="79875" y2="36750"/>
                        <a14:foregroundMark x1="79875" y1="36750" x2="76875" y2="36375"/>
                        <a14:foregroundMark x1="78750" y1="46625" x2="80125" y2="55500"/>
                        <a14:foregroundMark x1="80125" y1="55500" x2="80750" y2="46125"/>
                        <a14:foregroundMark x1="80750" y1="46125" x2="77750" y2="45875"/>
                        <a14:foregroundMark x1="90375" y1="44000" x2="88750" y2="56375"/>
                        <a14:foregroundMark x1="45750" y1="10250" x2="57875" y2="11500"/>
                        <a14:foregroundMark x1="54125" y1="8875" x2="53500" y2="9125"/>
                        <a14:foregroundMark x1="49500" y1="90500" x2="54125" y2="89500"/>
                        <a14:foregroundMark x1="9625" y1="49625" x2="11000" y2="47125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3256" t="7288" r="7881" b="3666"/>
          <a:stretch>
            <a:fillRect/>
          </a:stretch>
        </p:blipFill>
        <p:spPr bwMode="auto">
          <a:xfrm>
            <a:off x="11238614" y="5890437"/>
            <a:ext cx="733648" cy="7351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Imagem 5" descr="Cd em superfície branca&#10;&#10;O conteúdo gerado por IA pode estar incorreto.">
            <a:extLst>
              <a:ext uri="{FF2B5EF4-FFF2-40B4-BE49-F238E27FC236}">
                <a16:creationId xmlns:a16="http://schemas.microsoft.com/office/drawing/2014/main" id="{C0777657-A046-C431-694C-21BD72D8CEEB}"/>
              </a:ext>
            </a:extLst>
          </p:cNvPr>
          <p:cNvPicPr>
            <a:picLocks noChangeAspect="1"/>
          </p:cNvPicPr>
          <p:nvPr/>
        </p:nvPicPr>
        <p:blipFill>
          <a:blip r:embed="rId6"/>
          <a:srcRect l="18266" t="13484" r="14504" b="9002"/>
          <a:stretch>
            <a:fillRect/>
          </a:stretch>
        </p:blipFill>
        <p:spPr>
          <a:xfrm>
            <a:off x="11092593" y="259374"/>
            <a:ext cx="822960" cy="830969"/>
          </a:xfrm>
          <a:prstGeom prst="ellipse">
            <a:avLst/>
          </a:prstGeom>
        </p:spPr>
      </p:pic>
      <p:sp>
        <p:nvSpPr>
          <p:cNvPr id="10" name="CaixaDeTexto 9">
            <a:extLst>
              <a:ext uri="{FF2B5EF4-FFF2-40B4-BE49-F238E27FC236}">
                <a16:creationId xmlns:a16="http://schemas.microsoft.com/office/drawing/2014/main" id="{9EF0285C-25D7-2F8D-0606-606C6E581B12}"/>
              </a:ext>
            </a:extLst>
          </p:cNvPr>
          <p:cNvSpPr txBox="1"/>
          <p:nvPr/>
        </p:nvSpPr>
        <p:spPr>
          <a:xfrm>
            <a:off x="7824378" y="413248"/>
            <a:ext cx="5145734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sz="2800" b="1" i="0" u="none" strike="noStrike" baseline="0" dirty="0">
                <a:solidFill>
                  <a:schemeClr val="bg1"/>
                </a:solidFill>
                <a:latin typeface="Candara" panose="020E0502030303020204" pitchFamily="34" charset="0"/>
              </a:rPr>
              <a:t>WAP ROBOT W3000 </a:t>
            </a:r>
            <a:endParaRPr lang="pt-BR" sz="2800" dirty="0">
              <a:solidFill>
                <a:schemeClr val="bg1"/>
              </a:solidFill>
              <a:latin typeface="Candara" panose="020E0502030303020204" pitchFamily="34" charset="0"/>
            </a:endParaRPr>
          </a:p>
        </p:txBody>
      </p:sp>
      <p:pic>
        <p:nvPicPr>
          <p:cNvPr id="5" name="Imagem 4" descr="Diagrama&#10;&#10;O conteúdo gerado por IA pode estar incorreto.">
            <a:extLst>
              <a:ext uri="{FF2B5EF4-FFF2-40B4-BE49-F238E27FC236}">
                <a16:creationId xmlns:a16="http://schemas.microsoft.com/office/drawing/2014/main" id="{37C60E0C-5F4C-B5DF-7ED5-D666FAC3FD6C}"/>
              </a:ext>
            </a:extLst>
          </p:cNvPr>
          <p:cNvPicPr>
            <a:picLocks noChangeAspect="1"/>
          </p:cNvPicPr>
          <p:nvPr/>
        </p:nvPicPr>
        <p:blipFill>
          <a:blip r:embed="rId7"/>
          <a:srcRect t="2297"/>
          <a:stretch>
            <a:fillRect/>
          </a:stretch>
        </p:blipFill>
        <p:spPr>
          <a:xfrm>
            <a:off x="0" y="1645920"/>
            <a:ext cx="12192000" cy="36520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78043233"/>
      </p:ext>
    </p:extLst>
  </p:cSld>
  <p:clrMapOvr>
    <a:masterClrMapping/>
  </p:clrMapOvr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D981AEFE-2D0C-B1DC-F975-76F344D1D24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m 2" descr="Interface gráfica do usuário&#10;&#10;O conteúdo gerado por IA pode estar incorreto.">
            <a:extLst>
              <a:ext uri="{FF2B5EF4-FFF2-40B4-BE49-F238E27FC236}">
                <a16:creationId xmlns:a16="http://schemas.microsoft.com/office/drawing/2014/main" id="{D56DE03B-78C9-50EF-1EFC-1FB0A9D1FA0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6447" y="248306"/>
            <a:ext cx="1371600" cy="561358"/>
          </a:xfrm>
          <a:prstGeom prst="rect">
            <a:avLst/>
          </a:prstGeom>
        </p:spPr>
      </p:pic>
      <p:pic>
        <p:nvPicPr>
          <p:cNvPr id="1026" name="Picture 2" descr="logo claro PNG &amp; clipart images | Citypng">
            <a:extLst>
              <a:ext uri="{FF2B5EF4-FFF2-40B4-BE49-F238E27FC236}">
                <a16:creationId xmlns:a16="http://schemas.microsoft.com/office/drawing/2014/main" id="{B0A31AE2-857A-841C-BF95-A265CC7DA1AD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ackgroundRemoval t="8875" b="90500" l="9625" r="90375">
                        <a14:foregroundMark x1="35125" y1="42750" x2="35125" y2="42750"/>
                        <a14:foregroundMark x1="35250" y1="45125" x2="33750" y2="54125"/>
                        <a14:foregroundMark x1="33750" y1="54125" x2="41375" y2="48750"/>
                        <a14:foregroundMark x1="41375" y1="48750" x2="36875" y2="40375"/>
                        <a14:foregroundMark x1="36875" y1="40375" x2="31375" y2="43625"/>
                        <a14:foregroundMark x1="22000" y1="41875" x2="12375" y2="50500"/>
                        <a14:foregroundMark x1="12375" y1="50500" x2="25625" y2="62375"/>
                        <a14:foregroundMark x1="25625" y1="62375" x2="52750" y2="64125"/>
                        <a14:foregroundMark x1="52750" y1="64125" x2="73500" y2="62500"/>
                        <a14:foregroundMark x1="73500" y1="62500" x2="87375" y2="56375"/>
                        <a14:foregroundMark x1="87375" y1="56375" x2="87125" y2="45625"/>
                        <a14:foregroundMark x1="87125" y1="45625" x2="84625" y2="37625"/>
                        <a14:foregroundMark x1="84625" y1="37625" x2="76500" y2="32125"/>
                        <a14:foregroundMark x1="76500" y1="32125" x2="57500" y2="27250"/>
                        <a14:foregroundMark x1="57500" y1="27250" x2="20250" y2="28750"/>
                        <a14:foregroundMark x1="20250" y1="28750" x2="15750" y2="38375"/>
                        <a14:foregroundMark x1="15750" y1="38375" x2="12250" y2="41125"/>
                        <a14:foregroundMark x1="28375" y1="36125" x2="17625" y2="48125"/>
                        <a14:foregroundMark x1="17625" y1="48125" x2="23875" y2="57625"/>
                        <a14:foregroundMark x1="23875" y1="57625" x2="34500" y2="44000"/>
                        <a14:foregroundMark x1="34500" y1="44000" x2="21250" y2="39375"/>
                        <a14:foregroundMark x1="21250" y1="39375" x2="19250" y2="41250"/>
                        <a14:foregroundMark x1="26250" y1="40250" x2="27375" y2="52750"/>
                        <a14:foregroundMark x1="27375" y1="52750" x2="28875" y2="40125"/>
                        <a14:foregroundMark x1="28875" y1="40125" x2="18750" y2="45500"/>
                        <a14:foregroundMark x1="18750" y1="45500" x2="20750" y2="48625"/>
                        <a14:foregroundMark x1="26875" y1="40625" x2="27375" y2="58250"/>
                        <a14:foregroundMark x1="27375" y1="58250" x2="30625" y2="48375"/>
                        <a14:foregroundMark x1="30625" y1="48375" x2="20375" y2="51125"/>
                        <a14:foregroundMark x1="20375" y1="51125" x2="20375" y2="52375"/>
                        <a14:foregroundMark x1="19125" y1="42500" x2="25500" y2="55125"/>
                        <a14:foregroundMark x1="25500" y1="55125" x2="25125" y2="59500"/>
                        <a14:foregroundMark x1="22250" y1="56750" x2="21750" y2="58125"/>
                        <a14:foregroundMark x1="38500" y1="39875" x2="29750" y2="53250"/>
                        <a14:foregroundMark x1="29750" y1="53250" x2="34875" y2="62125"/>
                        <a14:foregroundMark x1="34875" y1="62125" x2="39750" y2="49375"/>
                        <a14:foregroundMark x1="39750" y1="49375" x2="36125" y2="43000"/>
                        <a14:foregroundMark x1="43375" y1="42375" x2="41000" y2="60750"/>
                        <a14:foregroundMark x1="41000" y1="60750" x2="51625" y2="47750"/>
                        <a14:foregroundMark x1="51625" y1="47750" x2="43375" y2="46875"/>
                        <a14:foregroundMark x1="43375" y1="46875" x2="41375" y2="48000"/>
                        <a14:foregroundMark x1="47125" y1="50750" x2="48375" y2="59000"/>
                        <a14:foregroundMark x1="48375" y1="59000" x2="45125" y2="53500"/>
                        <a14:foregroundMark x1="53625" y1="43250" x2="52125" y2="50125"/>
                        <a14:foregroundMark x1="52125" y1="50125" x2="54125" y2="58375"/>
                        <a14:foregroundMark x1="54125" y1="58375" x2="58125" y2="50500"/>
                        <a14:foregroundMark x1="58125" y1="50500" x2="53250" y2="45125"/>
                        <a14:foregroundMark x1="53250" y1="45125" x2="51500" y2="45375"/>
                        <a14:foregroundMark x1="58625" y1="42000" x2="59750" y2="52125"/>
                        <a14:foregroundMark x1="59750" y1="52125" x2="57750" y2="45000"/>
                        <a14:foregroundMark x1="63000" y1="45375" x2="61000" y2="62375"/>
                        <a14:foregroundMark x1="61000" y1="62375" x2="73375" y2="56375"/>
                        <a14:foregroundMark x1="73375" y1="56375" x2="72000" y2="45625"/>
                        <a14:foregroundMark x1="72000" y1="45625" x2="64375" y2="43500"/>
                        <a14:foregroundMark x1="64375" y1="43500" x2="61750" y2="33375"/>
                        <a14:foregroundMark x1="61750" y1="33375" x2="72625" y2="31250"/>
                        <a14:foregroundMark x1="72625" y1="31250" x2="67750" y2="44000"/>
                        <a14:foregroundMark x1="67750" y1="44000" x2="73125" y2="38125"/>
                        <a14:foregroundMark x1="73125" y1="38125" x2="81750" y2="37125"/>
                        <a14:foregroundMark x1="81750" y1="37125" x2="77625" y2="50250"/>
                        <a14:foregroundMark x1="77625" y1="50250" x2="81750" y2="52375"/>
                        <a14:foregroundMark x1="68875" y1="31750" x2="67125" y2="43250"/>
                        <a14:foregroundMark x1="67125" y1="43250" x2="69125" y2="34625"/>
                        <a14:foregroundMark x1="78750" y1="32500" x2="75250" y2="44500"/>
                        <a14:foregroundMark x1="75250" y1="44500" x2="79875" y2="36750"/>
                        <a14:foregroundMark x1="79875" y1="36750" x2="76875" y2="36375"/>
                        <a14:foregroundMark x1="78750" y1="46625" x2="80125" y2="55500"/>
                        <a14:foregroundMark x1="80125" y1="55500" x2="80750" y2="46125"/>
                        <a14:foregroundMark x1="80750" y1="46125" x2="77750" y2="45875"/>
                        <a14:foregroundMark x1="90375" y1="44000" x2="88750" y2="56375"/>
                        <a14:foregroundMark x1="45750" y1="10250" x2="57875" y2="11500"/>
                        <a14:foregroundMark x1="54125" y1="8875" x2="53500" y2="9125"/>
                        <a14:foregroundMark x1="49500" y1="90500" x2="54125" y2="89500"/>
                        <a14:foregroundMark x1="9625" y1="49625" x2="11000" y2="47125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3256" t="7288" r="7881" b="3666"/>
          <a:stretch>
            <a:fillRect/>
          </a:stretch>
        </p:blipFill>
        <p:spPr bwMode="auto">
          <a:xfrm>
            <a:off x="11238614" y="5890437"/>
            <a:ext cx="733648" cy="7351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Imagem 5" descr="Cd em superfície branca&#10;&#10;O conteúdo gerado por IA pode estar incorreto.">
            <a:extLst>
              <a:ext uri="{FF2B5EF4-FFF2-40B4-BE49-F238E27FC236}">
                <a16:creationId xmlns:a16="http://schemas.microsoft.com/office/drawing/2014/main" id="{90B5250D-A462-C361-AA7F-6B721A62AE2A}"/>
              </a:ext>
            </a:extLst>
          </p:cNvPr>
          <p:cNvPicPr>
            <a:picLocks noChangeAspect="1"/>
          </p:cNvPicPr>
          <p:nvPr/>
        </p:nvPicPr>
        <p:blipFill>
          <a:blip r:embed="rId6"/>
          <a:srcRect l="18266" t="13484" r="14504" b="9002"/>
          <a:stretch>
            <a:fillRect/>
          </a:stretch>
        </p:blipFill>
        <p:spPr>
          <a:xfrm>
            <a:off x="11092593" y="259374"/>
            <a:ext cx="822960" cy="830969"/>
          </a:xfrm>
          <a:prstGeom prst="ellipse">
            <a:avLst/>
          </a:prstGeom>
        </p:spPr>
      </p:pic>
      <p:sp>
        <p:nvSpPr>
          <p:cNvPr id="10" name="CaixaDeTexto 9">
            <a:extLst>
              <a:ext uri="{FF2B5EF4-FFF2-40B4-BE49-F238E27FC236}">
                <a16:creationId xmlns:a16="http://schemas.microsoft.com/office/drawing/2014/main" id="{C87A8C6D-067E-0163-CBC0-DCC9991EFAB7}"/>
              </a:ext>
            </a:extLst>
          </p:cNvPr>
          <p:cNvSpPr txBox="1"/>
          <p:nvPr/>
        </p:nvSpPr>
        <p:spPr>
          <a:xfrm>
            <a:off x="7824378" y="413248"/>
            <a:ext cx="5145734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sz="2800" b="1" i="0" u="none" strike="noStrike" baseline="0" dirty="0">
                <a:solidFill>
                  <a:schemeClr val="bg1"/>
                </a:solidFill>
                <a:latin typeface="Candara" panose="020E0502030303020204" pitchFamily="34" charset="0"/>
              </a:rPr>
              <a:t>WAP ROBOT W3000 </a:t>
            </a:r>
            <a:endParaRPr lang="pt-BR" sz="2800" dirty="0">
              <a:solidFill>
                <a:schemeClr val="bg1"/>
              </a:solidFill>
              <a:latin typeface="Candara" panose="020E0502030303020204" pitchFamily="34" charset="0"/>
            </a:endParaRPr>
          </a:p>
        </p:txBody>
      </p:sp>
      <p:sp>
        <p:nvSpPr>
          <p:cNvPr id="5" name="CaixaDeTexto 4">
            <a:extLst>
              <a:ext uri="{FF2B5EF4-FFF2-40B4-BE49-F238E27FC236}">
                <a16:creationId xmlns:a16="http://schemas.microsoft.com/office/drawing/2014/main" id="{E5F079BD-FD30-2168-76C0-86C6FC5F0C6E}"/>
              </a:ext>
            </a:extLst>
          </p:cNvPr>
          <p:cNvSpPr txBox="1"/>
          <p:nvPr/>
        </p:nvSpPr>
        <p:spPr>
          <a:xfrm>
            <a:off x="703580" y="2973754"/>
            <a:ext cx="4234180" cy="156966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sz="3200" b="0" i="0" u="none" strike="noStrike" baseline="0" dirty="0">
                <a:solidFill>
                  <a:schemeClr val="bg1"/>
                </a:solidFill>
                <a:latin typeface="Candara" panose="020E0502030303020204" pitchFamily="34" charset="0"/>
              </a:rPr>
              <a:t>Controle de umidade em 3 níveis para passar pano sem encharcar. </a:t>
            </a:r>
            <a:endParaRPr lang="pt-BR" sz="3200" dirty="0">
              <a:solidFill>
                <a:schemeClr val="bg1"/>
              </a:solidFill>
              <a:latin typeface="Candara" panose="020E0502030303020204" pitchFamily="34" charset="0"/>
            </a:endParaRPr>
          </a:p>
        </p:txBody>
      </p:sp>
      <p:sp>
        <p:nvSpPr>
          <p:cNvPr id="9" name="CaixaDeTexto 8">
            <a:extLst>
              <a:ext uri="{FF2B5EF4-FFF2-40B4-BE49-F238E27FC236}">
                <a16:creationId xmlns:a16="http://schemas.microsoft.com/office/drawing/2014/main" id="{D24CBCFE-7ADD-34C1-0796-73BCB003AD67}"/>
              </a:ext>
            </a:extLst>
          </p:cNvPr>
          <p:cNvSpPr txBox="1"/>
          <p:nvPr/>
        </p:nvSpPr>
        <p:spPr>
          <a:xfrm>
            <a:off x="703580" y="1947595"/>
            <a:ext cx="6487160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r>
              <a:rPr lang="pt-BR" sz="2800" b="1" i="0" u="none" strike="noStrike" baseline="0" dirty="0">
                <a:solidFill>
                  <a:schemeClr val="bg1"/>
                </a:solidFill>
                <a:latin typeface="Candara" panose="020E0502030303020204" pitchFamily="34" charset="0"/>
              </a:rPr>
              <a:t>Tanque de Água Inteligente</a:t>
            </a:r>
            <a:endParaRPr lang="pt-BR" sz="2800" dirty="0">
              <a:solidFill>
                <a:schemeClr val="bg1"/>
              </a:solidFill>
              <a:latin typeface="Candara" panose="020E0502030303020204" pitchFamily="34" charset="0"/>
            </a:endParaRPr>
          </a:p>
        </p:txBody>
      </p:sp>
      <p:pic>
        <p:nvPicPr>
          <p:cNvPr id="12" name="Imagem 11" descr="Diagrama&#10;&#10;O conteúdo gerado por IA pode estar incorreto.">
            <a:extLst>
              <a:ext uri="{FF2B5EF4-FFF2-40B4-BE49-F238E27FC236}">
                <a16:creationId xmlns:a16="http://schemas.microsoft.com/office/drawing/2014/main" id="{C747FFDB-A10A-2E28-2534-2535A412FE0A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602174" y="1361440"/>
            <a:ext cx="5264760" cy="4629210"/>
          </a:xfrm>
          <a:prstGeom prst="roundRect">
            <a:avLst>
              <a:gd name="adj" fmla="val 15084"/>
            </a:avLst>
          </a:prstGeom>
        </p:spPr>
      </p:pic>
    </p:spTree>
    <p:extLst>
      <p:ext uri="{BB962C8B-B14F-4D97-AF65-F5344CB8AC3E}">
        <p14:creationId xmlns:p14="http://schemas.microsoft.com/office/powerpoint/2010/main" val="1947417457"/>
      </p:ext>
    </p:extLst>
  </p:cSld>
  <p:clrMapOvr>
    <a:masterClrMapping/>
  </p:clrMapOvr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062B18C8-90FF-C9BF-57FF-840A72DEA8E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m 2" descr="Interface gráfica do usuário&#10;&#10;O conteúdo gerado por IA pode estar incorreto.">
            <a:extLst>
              <a:ext uri="{FF2B5EF4-FFF2-40B4-BE49-F238E27FC236}">
                <a16:creationId xmlns:a16="http://schemas.microsoft.com/office/drawing/2014/main" id="{24F079B2-C49F-5B7E-350A-6E50CA52EBF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6447" y="248306"/>
            <a:ext cx="1371600" cy="561358"/>
          </a:xfrm>
          <a:prstGeom prst="rect">
            <a:avLst/>
          </a:prstGeom>
        </p:spPr>
      </p:pic>
      <p:pic>
        <p:nvPicPr>
          <p:cNvPr id="1026" name="Picture 2" descr="logo claro PNG &amp; clipart images | Citypng">
            <a:extLst>
              <a:ext uri="{FF2B5EF4-FFF2-40B4-BE49-F238E27FC236}">
                <a16:creationId xmlns:a16="http://schemas.microsoft.com/office/drawing/2014/main" id="{5F168966-C665-7C0B-C1BD-F1D31F87AC6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ackgroundRemoval t="8875" b="90500" l="9625" r="90375">
                        <a14:foregroundMark x1="35125" y1="42750" x2="35125" y2="42750"/>
                        <a14:foregroundMark x1="35250" y1="45125" x2="33750" y2="54125"/>
                        <a14:foregroundMark x1="33750" y1="54125" x2="41375" y2="48750"/>
                        <a14:foregroundMark x1="41375" y1="48750" x2="36875" y2="40375"/>
                        <a14:foregroundMark x1="36875" y1="40375" x2="31375" y2="43625"/>
                        <a14:foregroundMark x1="22000" y1="41875" x2="12375" y2="50500"/>
                        <a14:foregroundMark x1="12375" y1="50500" x2="25625" y2="62375"/>
                        <a14:foregroundMark x1="25625" y1="62375" x2="52750" y2="64125"/>
                        <a14:foregroundMark x1="52750" y1="64125" x2="73500" y2="62500"/>
                        <a14:foregroundMark x1="73500" y1="62500" x2="87375" y2="56375"/>
                        <a14:foregroundMark x1="87375" y1="56375" x2="87125" y2="45625"/>
                        <a14:foregroundMark x1="87125" y1="45625" x2="84625" y2="37625"/>
                        <a14:foregroundMark x1="84625" y1="37625" x2="76500" y2="32125"/>
                        <a14:foregroundMark x1="76500" y1="32125" x2="57500" y2="27250"/>
                        <a14:foregroundMark x1="57500" y1="27250" x2="20250" y2="28750"/>
                        <a14:foregroundMark x1="20250" y1="28750" x2="15750" y2="38375"/>
                        <a14:foregroundMark x1="15750" y1="38375" x2="12250" y2="41125"/>
                        <a14:foregroundMark x1="28375" y1="36125" x2="17625" y2="48125"/>
                        <a14:foregroundMark x1="17625" y1="48125" x2="23875" y2="57625"/>
                        <a14:foregroundMark x1="23875" y1="57625" x2="34500" y2="44000"/>
                        <a14:foregroundMark x1="34500" y1="44000" x2="21250" y2="39375"/>
                        <a14:foregroundMark x1="21250" y1="39375" x2="19250" y2="41250"/>
                        <a14:foregroundMark x1="26250" y1="40250" x2="27375" y2="52750"/>
                        <a14:foregroundMark x1="27375" y1="52750" x2="28875" y2="40125"/>
                        <a14:foregroundMark x1="28875" y1="40125" x2="18750" y2="45500"/>
                        <a14:foregroundMark x1="18750" y1="45500" x2="20750" y2="48625"/>
                        <a14:foregroundMark x1="26875" y1="40625" x2="27375" y2="58250"/>
                        <a14:foregroundMark x1="27375" y1="58250" x2="30625" y2="48375"/>
                        <a14:foregroundMark x1="30625" y1="48375" x2="20375" y2="51125"/>
                        <a14:foregroundMark x1="20375" y1="51125" x2="20375" y2="52375"/>
                        <a14:foregroundMark x1="19125" y1="42500" x2="25500" y2="55125"/>
                        <a14:foregroundMark x1="25500" y1="55125" x2="25125" y2="59500"/>
                        <a14:foregroundMark x1="22250" y1="56750" x2="21750" y2="58125"/>
                        <a14:foregroundMark x1="38500" y1="39875" x2="29750" y2="53250"/>
                        <a14:foregroundMark x1="29750" y1="53250" x2="34875" y2="62125"/>
                        <a14:foregroundMark x1="34875" y1="62125" x2="39750" y2="49375"/>
                        <a14:foregroundMark x1="39750" y1="49375" x2="36125" y2="43000"/>
                        <a14:foregroundMark x1="43375" y1="42375" x2="41000" y2="60750"/>
                        <a14:foregroundMark x1="41000" y1="60750" x2="51625" y2="47750"/>
                        <a14:foregroundMark x1="51625" y1="47750" x2="43375" y2="46875"/>
                        <a14:foregroundMark x1="43375" y1="46875" x2="41375" y2="48000"/>
                        <a14:foregroundMark x1="47125" y1="50750" x2="48375" y2="59000"/>
                        <a14:foregroundMark x1="48375" y1="59000" x2="45125" y2="53500"/>
                        <a14:foregroundMark x1="53625" y1="43250" x2="52125" y2="50125"/>
                        <a14:foregroundMark x1="52125" y1="50125" x2="54125" y2="58375"/>
                        <a14:foregroundMark x1="54125" y1="58375" x2="58125" y2="50500"/>
                        <a14:foregroundMark x1="58125" y1="50500" x2="53250" y2="45125"/>
                        <a14:foregroundMark x1="53250" y1="45125" x2="51500" y2="45375"/>
                        <a14:foregroundMark x1="58625" y1="42000" x2="59750" y2="52125"/>
                        <a14:foregroundMark x1="59750" y1="52125" x2="57750" y2="45000"/>
                        <a14:foregroundMark x1="63000" y1="45375" x2="61000" y2="62375"/>
                        <a14:foregroundMark x1="61000" y1="62375" x2="73375" y2="56375"/>
                        <a14:foregroundMark x1="73375" y1="56375" x2="72000" y2="45625"/>
                        <a14:foregroundMark x1="72000" y1="45625" x2="64375" y2="43500"/>
                        <a14:foregroundMark x1="64375" y1="43500" x2="61750" y2="33375"/>
                        <a14:foregroundMark x1="61750" y1="33375" x2="72625" y2="31250"/>
                        <a14:foregroundMark x1="72625" y1="31250" x2="67750" y2="44000"/>
                        <a14:foregroundMark x1="67750" y1="44000" x2="73125" y2="38125"/>
                        <a14:foregroundMark x1="73125" y1="38125" x2="81750" y2="37125"/>
                        <a14:foregroundMark x1="81750" y1="37125" x2="77625" y2="50250"/>
                        <a14:foregroundMark x1="77625" y1="50250" x2="81750" y2="52375"/>
                        <a14:foregroundMark x1="68875" y1="31750" x2="67125" y2="43250"/>
                        <a14:foregroundMark x1="67125" y1="43250" x2="69125" y2="34625"/>
                        <a14:foregroundMark x1="78750" y1="32500" x2="75250" y2="44500"/>
                        <a14:foregroundMark x1="75250" y1="44500" x2="79875" y2="36750"/>
                        <a14:foregroundMark x1="79875" y1="36750" x2="76875" y2="36375"/>
                        <a14:foregroundMark x1="78750" y1="46625" x2="80125" y2="55500"/>
                        <a14:foregroundMark x1="80125" y1="55500" x2="80750" y2="46125"/>
                        <a14:foregroundMark x1="80750" y1="46125" x2="77750" y2="45875"/>
                        <a14:foregroundMark x1="90375" y1="44000" x2="88750" y2="56375"/>
                        <a14:foregroundMark x1="45750" y1="10250" x2="57875" y2="11500"/>
                        <a14:foregroundMark x1="54125" y1="8875" x2="53500" y2="9125"/>
                        <a14:foregroundMark x1="49500" y1="90500" x2="54125" y2="89500"/>
                        <a14:foregroundMark x1="9625" y1="49625" x2="11000" y2="47125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3256" t="7288" r="7881" b="3666"/>
          <a:stretch>
            <a:fillRect/>
          </a:stretch>
        </p:blipFill>
        <p:spPr bwMode="auto">
          <a:xfrm>
            <a:off x="11238614" y="5890437"/>
            <a:ext cx="733648" cy="7351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Imagem 5" descr="Cd em superfície branca&#10;&#10;O conteúdo gerado por IA pode estar incorreto.">
            <a:extLst>
              <a:ext uri="{FF2B5EF4-FFF2-40B4-BE49-F238E27FC236}">
                <a16:creationId xmlns:a16="http://schemas.microsoft.com/office/drawing/2014/main" id="{981D20BB-933B-E147-4E2C-570DC2C43293}"/>
              </a:ext>
            </a:extLst>
          </p:cNvPr>
          <p:cNvPicPr>
            <a:picLocks noChangeAspect="1"/>
          </p:cNvPicPr>
          <p:nvPr/>
        </p:nvPicPr>
        <p:blipFill>
          <a:blip r:embed="rId6"/>
          <a:srcRect l="18266" t="13484" r="14504" b="9002"/>
          <a:stretch>
            <a:fillRect/>
          </a:stretch>
        </p:blipFill>
        <p:spPr>
          <a:xfrm>
            <a:off x="11092593" y="259374"/>
            <a:ext cx="822960" cy="830969"/>
          </a:xfrm>
          <a:prstGeom prst="ellipse">
            <a:avLst/>
          </a:prstGeom>
        </p:spPr>
      </p:pic>
      <p:sp>
        <p:nvSpPr>
          <p:cNvPr id="10" name="CaixaDeTexto 9">
            <a:extLst>
              <a:ext uri="{FF2B5EF4-FFF2-40B4-BE49-F238E27FC236}">
                <a16:creationId xmlns:a16="http://schemas.microsoft.com/office/drawing/2014/main" id="{3EB7EBF8-EB90-A48D-19C7-FA83D6379322}"/>
              </a:ext>
            </a:extLst>
          </p:cNvPr>
          <p:cNvSpPr txBox="1"/>
          <p:nvPr/>
        </p:nvSpPr>
        <p:spPr>
          <a:xfrm>
            <a:off x="7824378" y="413248"/>
            <a:ext cx="5145734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sz="2800" b="1" i="0" u="none" strike="noStrike" baseline="0" dirty="0">
                <a:solidFill>
                  <a:schemeClr val="bg1"/>
                </a:solidFill>
                <a:latin typeface="Candara" panose="020E0502030303020204" pitchFamily="34" charset="0"/>
              </a:rPr>
              <a:t>WAP ROBOT W3000 </a:t>
            </a:r>
            <a:endParaRPr lang="pt-BR" sz="2800" dirty="0">
              <a:solidFill>
                <a:schemeClr val="bg1"/>
              </a:solidFill>
              <a:latin typeface="Candara" panose="020E0502030303020204" pitchFamily="34" charset="0"/>
            </a:endParaRPr>
          </a:p>
        </p:txBody>
      </p:sp>
      <p:sp>
        <p:nvSpPr>
          <p:cNvPr id="4" name="CaixaDeTexto 3">
            <a:extLst>
              <a:ext uri="{FF2B5EF4-FFF2-40B4-BE49-F238E27FC236}">
                <a16:creationId xmlns:a16="http://schemas.microsoft.com/office/drawing/2014/main" id="{7AE52C2D-A217-5913-3DAE-694A0077B809}"/>
              </a:ext>
            </a:extLst>
          </p:cNvPr>
          <p:cNvSpPr txBox="1"/>
          <p:nvPr/>
        </p:nvSpPr>
        <p:spPr>
          <a:xfrm>
            <a:off x="576167" y="1944915"/>
            <a:ext cx="4686713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r>
              <a:rPr lang="pt-BR" sz="3600" b="1" i="0" u="none" strike="noStrike" baseline="0" dirty="0">
                <a:solidFill>
                  <a:schemeClr val="bg1"/>
                </a:solidFill>
                <a:latin typeface="Candara" panose="020E0502030303020204" pitchFamily="34" charset="0"/>
              </a:rPr>
              <a:t>Modos de Sucção</a:t>
            </a:r>
            <a:endParaRPr lang="pt-BR" dirty="0">
              <a:solidFill>
                <a:schemeClr val="bg1"/>
              </a:solidFill>
            </a:endParaRPr>
          </a:p>
        </p:txBody>
      </p:sp>
      <p:sp>
        <p:nvSpPr>
          <p:cNvPr id="8" name="CaixaDeTexto 7">
            <a:extLst>
              <a:ext uri="{FF2B5EF4-FFF2-40B4-BE49-F238E27FC236}">
                <a16:creationId xmlns:a16="http://schemas.microsoft.com/office/drawing/2014/main" id="{581559CD-06F4-7569-A15C-90223B8AF79A}"/>
              </a:ext>
            </a:extLst>
          </p:cNvPr>
          <p:cNvSpPr txBox="1"/>
          <p:nvPr/>
        </p:nvSpPr>
        <p:spPr>
          <a:xfrm>
            <a:off x="576167" y="3105834"/>
            <a:ext cx="4686713" cy="181588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r>
              <a:rPr lang="pt-BR" sz="2800" b="0" i="0" u="none" strike="noStrike" baseline="0" dirty="0">
                <a:solidFill>
                  <a:schemeClr val="bg1"/>
                </a:solidFill>
                <a:latin typeface="Candara" panose="020E0502030303020204" pitchFamily="34" charset="0"/>
              </a:rPr>
              <a:t>Silencioso, Normal, Forte e Máximo,</a:t>
            </a:r>
          </a:p>
          <a:p>
            <a:pPr algn="l"/>
            <a:r>
              <a:rPr lang="pt-BR" sz="2800" b="0" i="0" u="none" strike="noStrike" baseline="0" dirty="0">
                <a:solidFill>
                  <a:schemeClr val="bg1"/>
                </a:solidFill>
                <a:latin typeface="Candara" panose="020E0502030303020204" pitchFamily="34" charset="0"/>
              </a:rPr>
              <a:t>com ajuste automático para tapetes</a:t>
            </a:r>
            <a:endParaRPr lang="pt-BR" sz="2800" dirty="0">
              <a:solidFill>
                <a:schemeClr val="bg1"/>
              </a:solidFill>
              <a:latin typeface="Candara" panose="020E0502030303020204" pitchFamily="34" charset="0"/>
            </a:endParaRPr>
          </a:p>
        </p:txBody>
      </p:sp>
      <p:pic>
        <p:nvPicPr>
          <p:cNvPr id="13" name="Imagem 12" descr="Tela de celular com imagem de jogo de vídeo game&#10;&#10;O conteúdo gerado por IA pode estar incorreto.">
            <a:extLst>
              <a:ext uri="{FF2B5EF4-FFF2-40B4-BE49-F238E27FC236}">
                <a16:creationId xmlns:a16="http://schemas.microsoft.com/office/drawing/2014/main" id="{81C77691-49C8-DA89-6E4A-185FE29080AF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262880" y="1657280"/>
            <a:ext cx="6217703" cy="35834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82233735"/>
      </p:ext>
    </p:extLst>
  </p:cSld>
  <p:clrMapOvr>
    <a:masterClrMapping/>
  </p:clrMapOvr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1C4532F0-3F58-BE56-F885-CB5E48C69C6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m 2" descr="Interface gráfica do usuário&#10;&#10;O conteúdo gerado por IA pode estar incorreto.">
            <a:extLst>
              <a:ext uri="{FF2B5EF4-FFF2-40B4-BE49-F238E27FC236}">
                <a16:creationId xmlns:a16="http://schemas.microsoft.com/office/drawing/2014/main" id="{B34D19CC-D8E4-47A8-388F-8FDA2EABA3E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6447" y="248306"/>
            <a:ext cx="1371600" cy="561358"/>
          </a:xfrm>
          <a:prstGeom prst="rect">
            <a:avLst/>
          </a:prstGeom>
        </p:spPr>
      </p:pic>
      <p:pic>
        <p:nvPicPr>
          <p:cNvPr id="1026" name="Picture 2" descr="logo claro PNG &amp; clipart images | Citypng">
            <a:extLst>
              <a:ext uri="{FF2B5EF4-FFF2-40B4-BE49-F238E27FC236}">
                <a16:creationId xmlns:a16="http://schemas.microsoft.com/office/drawing/2014/main" id="{40390F6C-B667-3F6E-2756-109558F19CAF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ackgroundRemoval t="8875" b="90500" l="9625" r="90375">
                        <a14:foregroundMark x1="35125" y1="42750" x2="35125" y2="42750"/>
                        <a14:foregroundMark x1="35250" y1="45125" x2="33750" y2="54125"/>
                        <a14:foregroundMark x1="33750" y1="54125" x2="41375" y2="48750"/>
                        <a14:foregroundMark x1="41375" y1="48750" x2="36875" y2="40375"/>
                        <a14:foregroundMark x1="36875" y1="40375" x2="31375" y2="43625"/>
                        <a14:foregroundMark x1="22000" y1="41875" x2="12375" y2="50500"/>
                        <a14:foregroundMark x1="12375" y1="50500" x2="25625" y2="62375"/>
                        <a14:foregroundMark x1="25625" y1="62375" x2="52750" y2="64125"/>
                        <a14:foregroundMark x1="52750" y1="64125" x2="73500" y2="62500"/>
                        <a14:foregroundMark x1="73500" y1="62500" x2="87375" y2="56375"/>
                        <a14:foregroundMark x1="87375" y1="56375" x2="87125" y2="45625"/>
                        <a14:foregroundMark x1="87125" y1="45625" x2="84625" y2="37625"/>
                        <a14:foregroundMark x1="84625" y1="37625" x2="76500" y2="32125"/>
                        <a14:foregroundMark x1="76500" y1="32125" x2="57500" y2="27250"/>
                        <a14:foregroundMark x1="57500" y1="27250" x2="20250" y2="28750"/>
                        <a14:foregroundMark x1="20250" y1="28750" x2="15750" y2="38375"/>
                        <a14:foregroundMark x1="15750" y1="38375" x2="12250" y2="41125"/>
                        <a14:foregroundMark x1="28375" y1="36125" x2="17625" y2="48125"/>
                        <a14:foregroundMark x1="17625" y1="48125" x2="23875" y2="57625"/>
                        <a14:foregroundMark x1="23875" y1="57625" x2="34500" y2="44000"/>
                        <a14:foregroundMark x1="34500" y1="44000" x2="21250" y2="39375"/>
                        <a14:foregroundMark x1="21250" y1="39375" x2="19250" y2="41250"/>
                        <a14:foregroundMark x1="26250" y1="40250" x2="27375" y2="52750"/>
                        <a14:foregroundMark x1="27375" y1="52750" x2="28875" y2="40125"/>
                        <a14:foregroundMark x1="28875" y1="40125" x2="18750" y2="45500"/>
                        <a14:foregroundMark x1="18750" y1="45500" x2="20750" y2="48625"/>
                        <a14:foregroundMark x1="26875" y1="40625" x2="27375" y2="58250"/>
                        <a14:foregroundMark x1="27375" y1="58250" x2="30625" y2="48375"/>
                        <a14:foregroundMark x1="30625" y1="48375" x2="20375" y2="51125"/>
                        <a14:foregroundMark x1="20375" y1="51125" x2="20375" y2="52375"/>
                        <a14:foregroundMark x1="19125" y1="42500" x2="25500" y2="55125"/>
                        <a14:foregroundMark x1="25500" y1="55125" x2="25125" y2="59500"/>
                        <a14:foregroundMark x1="22250" y1="56750" x2="21750" y2="58125"/>
                        <a14:foregroundMark x1="38500" y1="39875" x2="29750" y2="53250"/>
                        <a14:foregroundMark x1="29750" y1="53250" x2="34875" y2="62125"/>
                        <a14:foregroundMark x1="34875" y1="62125" x2="39750" y2="49375"/>
                        <a14:foregroundMark x1="39750" y1="49375" x2="36125" y2="43000"/>
                        <a14:foregroundMark x1="43375" y1="42375" x2="41000" y2="60750"/>
                        <a14:foregroundMark x1="41000" y1="60750" x2="51625" y2="47750"/>
                        <a14:foregroundMark x1="51625" y1="47750" x2="43375" y2="46875"/>
                        <a14:foregroundMark x1="43375" y1="46875" x2="41375" y2="48000"/>
                        <a14:foregroundMark x1="47125" y1="50750" x2="48375" y2="59000"/>
                        <a14:foregroundMark x1="48375" y1="59000" x2="45125" y2="53500"/>
                        <a14:foregroundMark x1="53625" y1="43250" x2="52125" y2="50125"/>
                        <a14:foregroundMark x1="52125" y1="50125" x2="54125" y2="58375"/>
                        <a14:foregroundMark x1="54125" y1="58375" x2="58125" y2="50500"/>
                        <a14:foregroundMark x1="58125" y1="50500" x2="53250" y2="45125"/>
                        <a14:foregroundMark x1="53250" y1="45125" x2="51500" y2="45375"/>
                        <a14:foregroundMark x1="58625" y1="42000" x2="59750" y2="52125"/>
                        <a14:foregroundMark x1="59750" y1="52125" x2="57750" y2="45000"/>
                        <a14:foregroundMark x1="63000" y1="45375" x2="61000" y2="62375"/>
                        <a14:foregroundMark x1="61000" y1="62375" x2="73375" y2="56375"/>
                        <a14:foregroundMark x1="73375" y1="56375" x2="72000" y2="45625"/>
                        <a14:foregroundMark x1="72000" y1="45625" x2="64375" y2="43500"/>
                        <a14:foregroundMark x1="64375" y1="43500" x2="61750" y2="33375"/>
                        <a14:foregroundMark x1="61750" y1="33375" x2="72625" y2="31250"/>
                        <a14:foregroundMark x1="72625" y1="31250" x2="67750" y2="44000"/>
                        <a14:foregroundMark x1="67750" y1="44000" x2="73125" y2="38125"/>
                        <a14:foregroundMark x1="73125" y1="38125" x2="81750" y2="37125"/>
                        <a14:foregroundMark x1="81750" y1="37125" x2="77625" y2="50250"/>
                        <a14:foregroundMark x1="77625" y1="50250" x2="81750" y2="52375"/>
                        <a14:foregroundMark x1="68875" y1="31750" x2="67125" y2="43250"/>
                        <a14:foregroundMark x1="67125" y1="43250" x2="69125" y2="34625"/>
                        <a14:foregroundMark x1="78750" y1="32500" x2="75250" y2="44500"/>
                        <a14:foregroundMark x1="75250" y1="44500" x2="79875" y2="36750"/>
                        <a14:foregroundMark x1="79875" y1="36750" x2="76875" y2="36375"/>
                        <a14:foregroundMark x1="78750" y1="46625" x2="80125" y2="55500"/>
                        <a14:foregroundMark x1="80125" y1="55500" x2="80750" y2="46125"/>
                        <a14:foregroundMark x1="80750" y1="46125" x2="77750" y2="45875"/>
                        <a14:foregroundMark x1="90375" y1="44000" x2="88750" y2="56375"/>
                        <a14:foregroundMark x1="45750" y1="10250" x2="57875" y2="11500"/>
                        <a14:foregroundMark x1="54125" y1="8875" x2="53500" y2="9125"/>
                        <a14:foregroundMark x1="49500" y1="90500" x2="54125" y2="89500"/>
                        <a14:foregroundMark x1="9625" y1="49625" x2="11000" y2="47125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3256" t="7288" r="7881" b="3666"/>
          <a:stretch>
            <a:fillRect/>
          </a:stretch>
        </p:blipFill>
        <p:spPr bwMode="auto">
          <a:xfrm>
            <a:off x="11238614" y="5890437"/>
            <a:ext cx="733648" cy="7351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Rectangle: Rounded Corners 59">
            <a:extLst>
              <a:ext uri="{FF2B5EF4-FFF2-40B4-BE49-F238E27FC236}">
                <a16:creationId xmlns:a16="http://schemas.microsoft.com/office/drawing/2014/main" id="{49243CD4-AD29-C19A-3B4A-84CBFBE6D13F}"/>
              </a:ext>
            </a:extLst>
          </p:cNvPr>
          <p:cNvSpPr/>
          <p:nvPr/>
        </p:nvSpPr>
        <p:spPr>
          <a:xfrm>
            <a:off x="1838379" y="4805252"/>
            <a:ext cx="2670630" cy="1463305"/>
          </a:xfrm>
          <a:prstGeom prst="roundRect">
            <a:avLst>
              <a:gd name="adj" fmla="val 11493"/>
            </a:avLst>
          </a:prstGeom>
          <a:solidFill>
            <a:srgbClr val="B8934B"/>
          </a:solidFill>
          <a:ln w="25400">
            <a:noFill/>
          </a:ln>
          <a:effectLst>
            <a:outerShdw blurRad="50800" dist="635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b="1" i="1" dirty="0">
                <a:solidFill>
                  <a:schemeClr val="bg1"/>
                </a:solidFill>
                <a:latin typeface="Candara" panose="020E0502030303020204" pitchFamily="34" charset="0"/>
              </a:rPr>
              <a:t>Balanço Geral</a:t>
            </a:r>
          </a:p>
        </p:txBody>
      </p:sp>
      <p:sp>
        <p:nvSpPr>
          <p:cNvPr id="4" name="TextBox 16">
            <a:extLst>
              <a:ext uri="{FF2B5EF4-FFF2-40B4-BE49-F238E27FC236}">
                <a16:creationId xmlns:a16="http://schemas.microsoft.com/office/drawing/2014/main" id="{45B7210C-A7AB-5158-D0C3-08FDB3013133}"/>
              </a:ext>
            </a:extLst>
          </p:cNvPr>
          <p:cNvSpPr txBox="1"/>
          <p:nvPr/>
        </p:nvSpPr>
        <p:spPr>
          <a:xfrm>
            <a:off x="1391025" y="983838"/>
            <a:ext cx="9409948" cy="81483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>
              <a:lnSpc>
                <a:spcPts val="5400"/>
              </a:lnSpc>
            </a:pPr>
            <a:r>
              <a:rPr lang="pt-BR" sz="6000" b="1" dirty="0">
                <a:solidFill>
                  <a:schemeClr val="bg1"/>
                </a:solidFill>
                <a:latin typeface="Candara" panose="020E0502030303020204" pitchFamily="34" charset="0"/>
              </a:rPr>
              <a:t>TÉCNICAS DE FECHAMENTO</a:t>
            </a:r>
          </a:p>
        </p:txBody>
      </p:sp>
      <p:sp>
        <p:nvSpPr>
          <p:cNvPr id="6" name="Rectangle: Rounded Corners 59">
            <a:extLst>
              <a:ext uri="{FF2B5EF4-FFF2-40B4-BE49-F238E27FC236}">
                <a16:creationId xmlns:a16="http://schemas.microsoft.com/office/drawing/2014/main" id="{98F1AEBA-66EB-4381-2BE4-953E86A2EFDF}"/>
              </a:ext>
            </a:extLst>
          </p:cNvPr>
          <p:cNvSpPr/>
          <p:nvPr/>
        </p:nvSpPr>
        <p:spPr>
          <a:xfrm>
            <a:off x="1838379" y="2335082"/>
            <a:ext cx="2670630" cy="1463305"/>
          </a:xfrm>
          <a:prstGeom prst="roundRect">
            <a:avLst>
              <a:gd name="adj" fmla="val 11493"/>
            </a:avLst>
          </a:prstGeom>
          <a:solidFill>
            <a:srgbClr val="B8934B"/>
          </a:solidFill>
          <a:ln w="25400">
            <a:noFill/>
          </a:ln>
          <a:effectLst>
            <a:outerShdw blurRad="50800" dist="635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b="1" i="1" dirty="0">
                <a:solidFill>
                  <a:schemeClr val="bg1"/>
                </a:solidFill>
                <a:latin typeface="Candara" panose="020E0502030303020204" pitchFamily="34" charset="0"/>
              </a:rPr>
              <a:t>Pergunta Dupla de resposta única</a:t>
            </a:r>
          </a:p>
        </p:txBody>
      </p:sp>
      <p:sp>
        <p:nvSpPr>
          <p:cNvPr id="7" name="Rectangle: Rounded Corners 59">
            <a:extLst>
              <a:ext uri="{FF2B5EF4-FFF2-40B4-BE49-F238E27FC236}">
                <a16:creationId xmlns:a16="http://schemas.microsoft.com/office/drawing/2014/main" id="{958071E2-BEE1-9A06-D302-380641F258CE}"/>
              </a:ext>
            </a:extLst>
          </p:cNvPr>
          <p:cNvSpPr/>
          <p:nvPr/>
        </p:nvSpPr>
        <p:spPr>
          <a:xfrm>
            <a:off x="7503565" y="2335083"/>
            <a:ext cx="2670630" cy="1463305"/>
          </a:xfrm>
          <a:prstGeom prst="roundRect">
            <a:avLst>
              <a:gd name="adj" fmla="val 11493"/>
            </a:avLst>
          </a:prstGeom>
          <a:solidFill>
            <a:srgbClr val="B8934B"/>
          </a:solidFill>
          <a:ln w="25400">
            <a:noFill/>
          </a:ln>
          <a:effectLst>
            <a:outerShdw blurRad="50800" dist="635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b="1" i="1" dirty="0">
                <a:solidFill>
                  <a:schemeClr val="bg1"/>
                </a:solidFill>
                <a:latin typeface="Candara" panose="020E0502030303020204" pitchFamily="34" charset="0"/>
              </a:rPr>
              <a:t>Cliente VIP</a:t>
            </a:r>
          </a:p>
        </p:txBody>
      </p:sp>
      <p:sp>
        <p:nvSpPr>
          <p:cNvPr id="8" name="Rectangle: Rounded Corners 59">
            <a:extLst>
              <a:ext uri="{FF2B5EF4-FFF2-40B4-BE49-F238E27FC236}">
                <a16:creationId xmlns:a16="http://schemas.microsoft.com/office/drawing/2014/main" id="{4B7B0746-4CA0-8FB2-B0DF-2F5046162CFB}"/>
              </a:ext>
            </a:extLst>
          </p:cNvPr>
          <p:cNvSpPr/>
          <p:nvPr/>
        </p:nvSpPr>
        <p:spPr>
          <a:xfrm>
            <a:off x="7503565" y="4793243"/>
            <a:ext cx="2670630" cy="1463305"/>
          </a:xfrm>
          <a:prstGeom prst="roundRect">
            <a:avLst>
              <a:gd name="adj" fmla="val 11493"/>
            </a:avLst>
          </a:prstGeom>
          <a:solidFill>
            <a:srgbClr val="B8934B"/>
          </a:solidFill>
          <a:ln w="25400">
            <a:noFill/>
          </a:ln>
          <a:effectLst>
            <a:outerShdw blurRad="50800" dist="635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b="1" i="1" dirty="0">
                <a:solidFill>
                  <a:schemeClr val="bg1"/>
                </a:solidFill>
                <a:latin typeface="Candara" panose="020E0502030303020204" pitchFamily="34" charset="0"/>
              </a:rPr>
              <a:t>A hora é agora</a:t>
            </a:r>
          </a:p>
        </p:txBody>
      </p:sp>
    </p:spTree>
    <p:extLst>
      <p:ext uri="{BB962C8B-B14F-4D97-AF65-F5344CB8AC3E}">
        <p14:creationId xmlns:p14="http://schemas.microsoft.com/office/powerpoint/2010/main" val="256220019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1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8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  <p:bldP spid="6" grpId="0" animBg="1"/>
      <p:bldP spid="7" grpId="0" animBg="1"/>
      <p:bldP spid="8" grpId="0" animBg="1"/>
    </p:bldLst>
  </p:timing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C962E834-2C66-A7A0-4FE8-E4483D2A991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m 2" descr="Interface gráfica do usuário&#10;&#10;O conteúdo gerado por IA pode estar incorreto.">
            <a:extLst>
              <a:ext uri="{FF2B5EF4-FFF2-40B4-BE49-F238E27FC236}">
                <a16:creationId xmlns:a16="http://schemas.microsoft.com/office/drawing/2014/main" id="{6E14FCF7-8AEF-BE43-65DD-329518B42E4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6447" y="248306"/>
            <a:ext cx="1371600" cy="561358"/>
          </a:xfrm>
          <a:prstGeom prst="rect">
            <a:avLst/>
          </a:prstGeom>
        </p:spPr>
      </p:pic>
      <p:pic>
        <p:nvPicPr>
          <p:cNvPr id="1026" name="Picture 2" descr="logo claro PNG &amp; clipart images | Citypng">
            <a:extLst>
              <a:ext uri="{FF2B5EF4-FFF2-40B4-BE49-F238E27FC236}">
                <a16:creationId xmlns:a16="http://schemas.microsoft.com/office/drawing/2014/main" id="{BE4313AE-9F87-8165-50F7-5C0CCD25BE4C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ackgroundRemoval t="8875" b="90500" l="9625" r="90375">
                        <a14:foregroundMark x1="35125" y1="42750" x2="35125" y2="42750"/>
                        <a14:foregroundMark x1="35250" y1="45125" x2="33750" y2="54125"/>
                        <a14:foregroundMark x1="33750" y1="54125" x2="41375" y2="48750"/>
                        <a14:foregroundMark x1="41375" y1="48750" x2="36875" y2="40375"/>
                        <a14:foregroundMark x1="36875" y1="40375" x2="31375" y2="43625"/>
                        <a14:foregroundMark x1="22000" y1="41875" x2="12375" y2="50500"/>
                        <a14:foregroundMark x1="12375" y1="50500" x2="25625" y2="62375"/>
                        <a14:foregroundMark x1="25625" y1="62375" x2="52750" y2="64125"/>
                        <a14:foregroundMark x1="52750" y1="64125" x2="73500" y2="62500"/>
                        <a14:foregroundMark x1="73500" y1="62500" x2="87375" y2="56375"/>
                        <a14:foregroundMark x1="87375" y1="56375" x2="87125" y2="45625"/>
                        <a14:foregroundMark x1="87125" y1="45625" x2="84625" y2="37625"/>
                        <a14:foregroundMark x1="84625" y1="37625" x2="76500" y2="32125"/>
                        <a14:foregroundMark x1="76500" y1="32125" x2="57500" y2="27250"/>
                        <a14:foregroundMark x1="57500" y1="27250" x2="20250" y2="28750"/>
                        <a14:foregroundMark x1="20250" y1="28750" x2="15750" y2="38375"/>
                        <a14:foregroundMark x1="15750" y1="38375" x2="12250" y2="41125"/>
                        <a14:foregroundMark x1="28375" y1="36125" x2="17625" y2="48125"/>
                        <a14:foregroundMark x1="17625" y1="48125" x2="23875" y2="57625"/>
                        <a14:foregroundMark x1="23875" y1="57625" x2="34500" y2="44000"/>
                        <a14:foregroundMark x1="34500" y1="44000" x2="21250" y2="39375"/>
                        <a14:foregroundMark x1="21250" y1="39375" x2="19250" y2="41250"/>
                        <a14:foregroundMark x1="26250" y1="40250" x2="27375" y2="52750"/>
                        <a14:foregroundMark x1="27375" y1="52750" x2="28875" y2="40125"/>
                        <a14:foregroundMark x1="28875" y1="40125" x2="18750" y2="45500"/>
                        <a14:foregroundMark x1="18750" y1="45500" x2="20750" y2="48625"/>
                        <a14:foregroundMark x1="26875" y1="40625" x2="27375" y2="58250"/>
                        <a14:foregroundMark x1="27375" y1="58250" x2="30625" y2="48375"/>
                        <a14:foregroundMark x1="30625" y1="48375" x2="20375" y2="51125"/>
                        <a14:foregroundMark x1="20375" y1="51125" x2="20375" y2="52375"/>
                        <a14:foregroundMark x1="19125" y1="42500" x2="25500" y2="55125"/>
                        <a14:foregroundMark x1="25500" y1="55125" x2="25125" y2="59500"/>
                        <a14:foregroundMark x1="22250" y1="56750" x2="21750" y2="58125"/>
                        <a14:foregroundMark x1="38500" y1="39875" x2="29750" y2="53250"/>
                        <a14:foregroundMark x1="29750" y1="53250" x2="34875" y2="62125"/>
                        <a14:foregroundMark x1="34875" y1="62125" x2="39750" y2="49375"/>
                        <a14:foregroundMark x1="39750" y1="49375" x2="36125" y2="43000"/>
                        <a14:foregroundMark x1="43375" y1="42375" x2="41000" y2="60750"/>
                        <a14:foregroundMark x1="41000" y1="60750" x2="51625" y2="47750"/>
                        <a14:foregroundMark x1="51625" y1="47750" x2="43375" y2="46875"/>
                        <a14:foregroundMark x1="43375" y1="46875" x2="41375" y2="48000"/>
                        <a14:foregroundMark x1="47125" y1="50750" x2="48375" y2="59000"/>
                        <a14:foregroundMark x1="48375" y1="59000" x2="45125" y2="53500"/>
                        <a14:foregroundMark x1="53625" y1="43250" x2="52125" y2="50125"/>
                        <a14:foregroundMark x1="52125" y1="50125" x2="54125" y2="58375"/>
                        <a14:foregroundMark x1="54125" y1="58375" x2="58125" y2="50500"/>
                        <a14:foregroundMark x1="58125" y1="50500" x2="53250" y2="45125"/>
                        <a14:foregroundMark x1="53250" y1="45125" x2="51500" y2="45375"/>
                        <a14:foregroundMark x1="58625" y1="42000" x2="59750" y2="52125"/>
                        <a14:foregroundMark x1="59750" y1="52125" x2="57750" y2="45000"/>
                        <a14:foregroundMark x1="63000" y1="45375" x2="61000" y2="62375"/>
                        <a14:foregroundMark x1="61000" y1="62375" x2="73375" y2="56375"/>
                        <a14:foregroundMark x1="73375" y1="56375" x2="72000" y2="45625"/>
                        <a14:foregroundMark x1="72000" y1="45625" x2="64375" y2="43500"/>
                        <a14:foregroundMark x1="64375" y1="43500" x2="61750" y2="33375"/>
                        <a14:foregroundMark x1="61750" y1="33375" x2="72625" y2="31250"/>
                        <a14:foregroundMark x1="72625" y1="31250" x2="67750" y2="44000"/>
                        <a14:foregroundMark x1="67750" y1="44000" x2="73125" y2="38125"/>
                        <a14:foregroundMark x1="73125" y1="38125" x2="81750" y2="37125"/>
                        <a14:foregroundMark x1="81750" y1="37125" x2="77625" y2="50250"/>
                        <a14:foregroundMark x1="77625" y1="50250" x2="81750" y2="52375"/>
                        <a14:foregroundMark x1="68875" y1="31750" x2="67125" y2="43250"/>
                        <a14:foregroundMark x1="67125" y1="43250" x2="69125" y2="34625"/>
                        <a14:foregroundMark x1="78750" y1="32500" x2="75250" y2="44500"/>
                        <a14:foregroundMark x1="75250" y1="44500" x2="79875" y2="36750"/>
                        <a14:foregroundMark x1="79875" y1="36750" x2="76875" y2="36375"/>
                        <a14:foregroundMark x1="78750" y1="46625" x2="80125" y2="55500"/>
                        <a14:foregroundMark x1="80125" y1="55500" x2="80750" y2="46125"/>
                        <a14:foregroundMark x1="80750" y1="46125" x2="77750" y2="45875"/>
                        <a14:foregroundMark x1="90375" y1="44000" x2="88750" y2="56375"/>
                        <a14:foregroundMark x1="45750" y1="10250" x2="57875" y2="11500"/>
                        <a14:foregroundMark x1="54125" y1="8875" x2="53500" y2="9125"/>
                        <a14:foregroundMark x1="49500" y1="90500" x2="54125" y2="89500"/>
                        <a14:foregroundMark x1="9625" y1="49625" x2="11000" y2="47125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3256" t="7288" r="7881" b="3666"/>
          <a:stretch>
            <a:fillRect/>
          </a:stretch>
        </p:blipFill>
        <p:spPr bwMode="auto">
          <a:xfrm>
            <a:off x="11238614" y="5890437"/>
            <a:ext cx="733648" cy="7351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CaixaDeTexto 3">
            <a:extLst>
              <a:ext uri="{FF2B5EF4-FFF2-40B4-BE49-F238E27FC236}">
                <a16:creationId xmlns:a16="http://schemas.microsoft.com/office/drawing/2014/main" id="{399462C0-7DD5-05D4-E2B0-C4A30D40E945}"/>
              </a:ext>
            </a:extLst>
          </p:cNvPr>
          <p:cNvSpPr txBox="1"/>
          <p:nvPr/>
        </p:nvSpPr>
        <p:spPr>
          <a:xfrm>
            <a:off x="3603847" y="537304"/>
            <a:ext cx="4686713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pt-BR" sz="3600" b="1" i="0" u="none" strike="noStrike" baseline="0" dirty="0">
                <a:solidFill>
                  <a:schemeClr val="bg1"/>
                </a:solidFill>
                <a:latin typeface="Candara" panose="020E0502030303020204" pitchFamily="34" charset="0"/>
              </a:rPr>
              <a:t>Pausa pra foto </a:t>
            </a:r>
            <a:endParaRPr lang="pt-BR" dirty="0">
              <a:solidFill>
                <a:schemeClr val="bg1"/>
              </a:solidFill>
            </a:endParaRPr>
          </a:p>
        </p:txBody>
      </p:sp>
      <p:pic>
        <p:nvPicPr>
          <p:cNvPr id="2" name="Picture 2" descr="Como desconectar o Instagram do Facebook - Positivo do seu jeito">
            <a:extLst>
              <a:ext uri="{FF2B5EF4-FFF2-40B4-BE49-F238E27FC236}">
                <a16:creationId xmlns:a16="http://schemas.microsoft.com/office/drawing/2014/main" id="{230E4841-4EC0-97D2-65EA-F7FC7E6541B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680" t="-4606" r="8469" b="-2840"/>
          <a:stretch/>
        </p:blipFill>
        <p:spPr bwMode="auto">
          <a:xfrm>
            <a:off x="6736080" y="1943713"/>
            <a:ext cx="4197734" cy="3946724"/>
          </a:xfrm>
          <a:prstGeom prst="ellipse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Imagem 9">
            <a:extLst>
              <a:ext uri="{FF2B5EF4-FFF2-40B4-BE49-F238E27FC236}">
                <a16:creationId xmlns:a16="http://schemas.microsoft.com/office/drawing/2014/main" id="{31CBEFCB-9DB8-A862-C2C0-DDA3992C331F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66225" y="1757680"/>
            <a:ext cx="4008975" cy="40198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5697080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4B9178B4-FFC6-844F-9730-AEDE36CC371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m 2" descr="Interface gráfica do usuário&#10;&#10;O conteúdo gerado por IA pode estar incorreto.">
            <a:extLst>
              <a:ext uri="{FF2B5EF4-FFF2-40B4-BE49-F238E27FC236}">
                <a16:creationId xmlns:a16="http://schemas.microsoft.com/office/drawing/2014/main" id="{6B7CE3CF-E46E-6069-D21B-10286103DF6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6447" y="248306"/>
            <a:ext cx="1371600" cy="561358"/>
          </a:xfrm>
          <a:prstGeom prst="rect">
            <a:avLst/>
          </a:prstGeom>
        </p:spPr>
      </p:pic>
      <p:pic>
        <p:nvPicPr>
          <p:cNvPr id="1026" name="Picture 2" descr="logo claro PNG &amp; clipart images | Citypng">
            <a:extLst>
              <a:ext uri="{FF2B5EF4-FFF2-40B4-BE49-F238E27FC236}">
                <a16:creationId xmlns:a16="http://schemas.microsoft.com/office/drawing/2014/main" id="{CD1B10E4-A345-731D-0155-19FB62F589EB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ackgroundRemoval t="8875" b="90500" l="9625" r="90375">
                        <a14:foregroundMark x1="35125" y1="42750" x2="35125" y2="42750"/>
                        <a14:foregroundMark x1="35250" y1="45125" x2="33750" y2="54125"/>
                        <a14:foregroundMark x1="33750" y1="54125" x2="41375" y2="48750"/>
                        <a14:foregroundMark x1="41375" y1="48750" x2="36875" y2="40375"/>
                        <a14:foregroundMark x1="36875" y1="40375" x2="31375" y2="43625"/>
                        <a14:foregroundMark x1="22000" y1="41875" x2="12375" y2="50500"/>
                        <a14:foregroundMark x1="12375" y1="50500" x2="25625" y2="62375"/>
                        <a14:foregroundMark x1="25625" y1="62375" x2="52750" y2="64125"/>
                        <a14:foregroundMark x1="52750" y1="64125" x2="73500" y2="62500"/>
                        <a14:foregroundMark x1="73500" y1="62500" x2="87375" y2="56375"/>
                        <a14:foregroundMark x1="87375" y1="56375" x2="87125" y2="45625"/>
                        <a14:foregroundMark x1="87125" y1="45625" x2="84625" y2="37625"/>
                        <a14:foregroundMark x1="84625" y1="37625" x2="76500" y2="32125"/>
                        <a14:foregroundMark x1="76500" y1="32125" x2="57500" y2="27250"/>
                        <a14:foregroundMark x1="57500" y1="27250" x2="20250" y2="28750"/>
                        <a14:foregroundMark x1="20250" y1="28750" x2="15750" y2="38375"/>
                        <a14:foregroundMark x1="15750" y1="38375" x2="12250" y2="41125"/>
                        <a14:foregroundMark x1="28375" y1="36125" x2="17625" y2="48125"/>
                        <a14:foregroundMark x1="17625" y1="48125" x2="23875" y2="57625"/>
                        <a14:foregroundMark x1="23875" y1="57625" x2="34500" y2="44000"/>
                        <a14:foregroundMark x1="34500" y1="44000" x2="21250" y2="39375"/>
                        <a14:foregroundMark x1="21250" y1="39375" x2="19250" y2="41250"/>
                        <a14:foregroundMark x1="26250" y1="40250" x2="27375" y2="52750"/>
                        <a14:foregroundMark x1="27375" y1="52750" x2="28875" y2="40125"/>
                        <a14:foregroundMark x1="28875" y1="40125" x2="18750" y2="45500"/>
                        <a14:foregroundMark x1="18750" y1="45500" x2="20750" y2="48625"/>
                        <a14:foregroundMark x1="26875" y1="40625" x2="27375" y2="58250"/>
                        <a14:foregroundMark x1="27375" y1="58250" x2="30625" y2="48375"/>
                        <a14:foregroundMark x1="30625" y1="48375" x2="20375" y2="51125"/>
                        <a14:foregroundMark x1="20375" y1="51125" x2="20375" y2="52375"/>
                        <a14:foregroundMark x1="19125" y1="42500" x2="25500" y2="55125"/>
                        <a14:foregroundMark x1="25500" y1="55125" x2="25125" y2="59500"/>
                        <a14:foregroundMark x1="22250" y1="56750" x2="21750" y2="58125"/>
                        <a14:foregroundMark x1="38500" y1="39875" x2="29750" y2="53250"/>
                        <a14:foregroundMark x1="29750" y1="53250" x2="34875" y2="62125"/>
                        <a14:foregroundMark x1="34875" y1="62125" x2="39750" y2="49375"/>
                        <a14:foregroundMark x1="39750" y1="49375" x2="36125" y2="43000"/>
                        <a14:foregroundMark x1="43375" y1="42375" x2="41000" y2="60750"/>
                        <a14:foregroundMark x1="41000" y1="60750" x2="51625" y2="47750"/>
                        <a14:foregroundMark x1="51625" y1="47750" x2="43375" y2="46875"/>
                        <a14:foregroundMark x1="43375" y1="46875" x2="41375" y2="48000"/>
                        <a14:foregroundMark x1="47125" y1="50750" x2="48375" y2="59000"/>
                        <a14:foregroundMark x1="48375" y1="59000" x2="45125" y2="53500"/>
                        <a14:foregroundMark x1="53625" y1="43250" x2="52125" y2="50125"/>
                        <a14:foregroundMark x1="52125" y1="50125" x2="54125" y2="58375"/>
                        <a14:foregroundMark x1="54125" y1="58375" x2="58125" y2="50500"/>
                        <a14:foregroundMark x1="58125" y1="50500" x2="53250" y2="45125"/>
                        <a14:foregroundMark x1="53250" y1="45125" x2="51500" y2="45375"/>
                        <a14:foregroundMark x1="58625" y1="42000" x2="59750" y2="52125"/>
                        <a14:foregroundMark x1="59750" y1="52125" x2="57750" y2="45000"/>
                        <a14:foregroundMark x1="63000" y1="45375" x2="61000" y2="62375"/>
                        <a14:foregroundMark x1="61000" y1="62375" x2="73375" y2="56375"/>
                        <a14:foregroundMark x1="73375" y1="56375" x2="72000" y2="45625"/>
                        <a14:foregroundMark x1="72000" y1="45625" x2="64375" y2="43500"/>
                        <a14:foregroundMark x1="64375" y1="43500" x2="61750" y2="33375"/>
                        <a14:foregroundMark x1="61750" y1="33375" x2="72625" y2="31250"/>
                        <a14:foregroundMark x1="72625" y1="31250" x2="67750" y2="44000"/>
                        <a14:foregroundMark x1="67750" y1="44000" x2="73125" y2="38125"/>
                        <a14:foregroundMark x1="73125" y1="38125" x2="81750" y2="37125"/>
                        <a14:foregroundMark x1="81750" y1="37125" x2="77625" y2="50250"/>
                        <a14:foregroundMark x1="77625" y1="50250" x2="81750" y2="52375"/>
                        <a14:foregroundMark x1="68875" y1="31750" x2="67125" y2="43250"/>
                        <a14:foregroundMark x1="67125" y1="43250" x2="69125" y2="34625"/>
                        <a14:foregroundMark x1="78750" y1="32500" x2="75250" y2="44500"/>
                        <a14:foregroundMark x1="75250" y1="44500" x2="79875" y2="36750"/>
                        <a14:foregroundMark x1="79875" y1="36750" x2="76875" y2="36375"/>
                        <a14:foregroundMark x1="78750" y1="46625" x2="80125" y2="55500"/>
                        <a14:foregroundMark x1="80125" y1="55500" x2="80750" y2="46125"/>
                        <a14:foregroundMark x1="80750" y1="46125" x2="77750" y2="45875"/>
                        <a14:foregroundMark x1="90375" y1="44000" x2="88750" y2="56375"/>
                        <a14:foregroundMark x1="45750" y1="10250" x2="57875" y2="11500"/>
                        <a14:foregroundMark x1="54125" y1="8875" x2="53500" y2="9125"/>
                        <a14:foregroundMark x1="49500" y1="90500" x2="54125" y2="89500"/>
                        <a14:foregroundMark x1="9625" y1="49625" x2="11000" y2="47125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3256" t="7288" r="7881" b="3666"/>
          <a:stretch>
            <a:fillRect/>
          </a:stretch>
        </p:blipFill>
        <p:spPr bwMode="auto">
          <a:xfrm>
            <a:off x="11238614" y="5890437"/>
            <a:ext cx="733648" cy="7351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Imagem 1" descr="Desenho de um círculo&#10;&#10;Descrição gerada automaticamente com confiança média">
            <a:extLst>
              <a:ext uri="{FF2B5EF4-FFF2-40B4-BE49-F238E27FC236}">
                <a16:creationId xmlns:a16="http://schemas.microsoft.com/office/drawing/2014/main" id="{0FB9B353-BB6C-C62E-B31E-87B427A82765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75576" y="2435424"/>
            <a:ext cx="8392935" cy="2319455"/>
          </a:xfrm>
          <a:prstGeom prst="rect">
            <a:avLst/>
          </a:prstGeom>
          <a:effectLst>
            <a:glow rad="101600">
              <a:schemeClr val="tx1">
                <a:alpha val="40000"/>
              </a:schemeClr>
            </a:glow>
          </a:effectLst>
        </p:spPr>
      </p:pic>
    </p:spTree>
    <p:extLst>
      <p:ext uri="{BB962C8B-B14F-4D97-AF65-F5344CB8AC3E}">
        <p14:creationId xmlns:p14="http://schemas.microsoft.com/office/powerpoint/2010/main" val="3014667822"/>
      </p:ext>
    </p:extLst>
  </p:cSld>
  <p:clrMapOvr>
    <a:masterClrMapping/>
  </p:clrMapOvr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806C5289-0FEA-8A05-5A25-DDBE16ED8F1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m 2" descr="Interface gráfica do usuário&#10;&#10;O conteúdo gerado por IA pode estar incorreto.">
            <a:extLst>
              <a:ext uri="{FF2B5EF4-FFF2-40B4-BE49-F238E27FC236}">
                <a16:creationId xmlns:a16="http://schemas.microsoft.com/office/drawing/2014/main" id="{AE88150C-FBFE-8723-AFB8-031DC19E546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6958" y="248306"/>
            <a:ext cx="926070" cy="379015"/>
          </a:xfrm>
          <a:prstGeom prst="rect">
            <a:avLst/>
          </a:prstGeom>
        </p:spPr>
      </p:pic>
      <p:pic>
        <p:nvPicPr>
          <p:cNvPr id="1026" name="Picture 2" descr="logo claro PNG &amp; clipart images | Citypng">
            <a:extLst>
              <a:ext uri="{FF2B5EF4-FFF2-40B4-BE49-F238E27FC236}">
                <a16:creationId xmlns:a16="http://schemas.microsoft.com/office/drawing/2014/main" id="{20AC0B75-C4B4-BDC4-E491-D72C3B3E2FB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ackgroundRemoval t="8875" b="90500" l="9625" r="90375">
                        <a14:foregroundMark x1="35125" y1="42750" x2="35125" y2="42750"/>
                        <a14:foregroundMark x1="35250" y1="45125" x2="33750" y2="54125"/>
                        <a14:foregroundMark x1="33750" y1="54125" x2="41375" y2="48750"/>
                        <a14:foregroundMark x1="41375" y1="48750" x2="36875" y2="40375"/>
                        <a14:foregroundMark x1="36875" y1="40375" x2="31375" y2="43625"/>
                        <a14:foregroundMark x1="22000" y1="41875" x2="12375" y2="50500"/>
                        <a14:foregroundMark x1="12375" y1="50500" x2="25625" y2="62375"/>
                        <a14:foregroundMark x1="25625" y1="62375" x2="52750" y2="64125"/>
                        <a14:foregroundMark x1="52750" y1="64125" x2="73500" y2="62500"/>
                        <a14:foregroundMark x1="73500" y1="62500" x2="87375" y2="56375"/>
                        <a14:foregroundMark x1="87375" y1="56375" x2="87125" y2="45625"/>
                        <a14:foregroundMark x1="87125" y1="45625" x2="84625" y2="37625"/>
                        <a14:foregroundMark x1="84625" y1="37625" x2="76500" y2="32125"/>
                        <a14:foregroundMark x1="76500" y1="32125" x2="57500" y2="27250"/>
                        <a14:foregroundMark x1="57500" y1="27250" x2="20250" y2="28750"/>
                        <a14:foregroundMark x1="20250" y1="28750" x2="15750" y2="38375"/>
                        <a14:foregroundMark x1="15750" y1="38375" x2="12250" y2="41125"/>
                        <a14:foregroundMark x1="28375" y1="36125" x2="17625" y2="48125"/>
                        <a14:foregroundMark x1="17625" y1="48125" x2="23875" y2="57625"/>
                        <a14:foregroundMark x1="23875" y1="57625" x2="34500" y2="44000"/>
                        <a14:foregroundMark x1="34500" y1="44000" x2="21250" y2="39375"/>
                        <a14:foregroundMark x1="21250" y1="39375" x2="19250" y2="41250"/>
                        <a14:foregroundMark x1="26250" y1="40250" x2="27375" y2="52750"/>
                        <a14:foregroundMark x1="27375" y1="52750" x2="28875" y2="40125"/>
                        <a14:foregroundMark x1="28875" y1="40125" x2="18750" y2="45500"/>
                        <a14:foregroundMark x1="18750" y1="45500" x2="20750" y2="48625"/>
                        <a14:foregroundMark x1="26875" y1="40625" x2="27375" y2="58250"/>
                        <a14:foregroundMark x1="27375" y1="58250" x2="30625" y2="48375"/>
                        <a14:foregroundMark x1="30625" y1="48375" x2="20375" y2="51125"/>
                        <a14:foregroundMark x1="20375" y1="51125" x2="20375" y2="52375"/>
                        <a14:foregroundMark x1="19125" y1="42500" x2="25500" y2="55125"/>
                        <a14:foregroundMark x1="25500" y1="55125" x2="25125" y2="59500"/>
                        <a14:foregroundMark x1="22250" y1="56750" x2="21750" y2="58125"/>
                        <a14:foregroundMark x1="38500" y1="39875" x2="29750" y2="53250"/>
                        <a14:foregroundMark x1="29750" y1="53250" x2="34875" y2="62125"/>
                        <a14:foregroundMark x1="34875" y1="62125" x2="39750" y2="49375"/>
                        <a14:foregroundMark x1="39750" y1="49375" x2="36125" y2="43000"/>
                        <a14:foregroundMark x1="43375" y1="42375" x2="41000" y2="60750"/>
                        <a14:foregroundMark x1="41000" y1="60750" x2="51625" y2="47750"/>
                        <a14:foregroundMark x1="51625" y1="47750" x2="43375" y2="46875"/>
                        <a14:foregroundMark x1="43375" y1="46875" x2="41375" y2="48000"/>
                        <a14:foregroundMark x1="47125" y1="50750" x2="48375" y2="59000"/>
                        <a14:foregroundMark x1="48375" y1="59000" x2="45125" y2="53500"/>
                        <a14:foregroundMark x1="53625" y1="43250" x2="52125" y2="50125"/>
                        <a14:foregroundMark x1="52125" y1="50125" x2="54125" y2="58375"/>
                        <a14:foregroundMark x1="54125" y1="58375" x2="58125" y2="50500"/>
                        <a14:foregroundMark x1="58125" y1="50500" x2="53250" y2="45125"/>
                        <a14:foregroundMark x1="53250" y1="45125" x2="51500" y2="45375"/>
                        <a14:foregroundMark x1="58625" y1="42000" x2="59750" y2="52125"/>
                        <a14:foregroundMark x1="59750" y1="52125" x2="57750" y2="45000"/>
                        <a14:foregroundMark x1="63000" y1="45375" x2="61000" y2="62375"/>
                        <a14:foregroundMark x1="61000" y1="62375" x2="73375" y2="56375"/>
                        <a14:foregroundMark x1="73375" y1="56375" x2="72000" y2="45625"/>
                        <a14:foregroundMark x1="72000" y1="45625" x2="64375" y2="43500"/>
                        <a14:foregroundMark x1="64375" y1="43500" x2="61750" y2="33375"/>
                        <a14:foregroundMark x1="61750" y1="33375" x2="72625" y2="31250"/>
                        <a14:foregroundMark x1="72625" y1="31250" x2="67750" y2="44000"/>
                        <a14:foregroundMark x1="67750" y1="44000" x2="73125" y2="38125"/>
                        <a14:foregroundMark x1="73125" y1="38125" x2="81750" y2="37125"/>
                        <a14:foregroundMark x1="81750" y1="37125" x2="77625" y2="50250"/>
                        <a14:foregroundMark x1="77625" y1="50250" x2="81750" y2="52375"/>
                        <a14:foregroundMark x1="68875" y1="31750" x2="67125" y2="43250"/>
                        <a14:foregroundMark x1="67125" y1="43250" x2="69125" y2="34625"/>
                        <a14:foregroundMark x1="78750" y1="32500" x2="75250" y2="44500"/>
                        <a14:foregroundMark x1="75250" y1="44500" x2="79875" y2="36750"/>
                        <a14:foregroundMark x1="79875" y1="36750" x2="76875" y2="36375"/>
                        <a14:foregroundMark x1="78750" y1="46625" x2="80125" y2="55500"/>
                        <a14:foregroundMark x1="80125" y1="55500" x2="80750" y2="46125"/>
                        <a14:foregroundMark x1="80750" y1="46125" x2="77750" y2="45875"/>
                        <a14:foregroundMark x1="90375" y1="44000" x2="88750" y2="56375"/>
                        <a14:foregroundMark x1="45750" y1="10250" x2="57875" y2="11500"/>
                        <a14:foregroundMark x1="54125" y1="8875" x2="53500" y2="9125"/>
                        <a14:foregroundMark x1="49500" y1="90500" x2="54125" y2="89500"/>
                        <a14:foregroundMark x1="9625" y1="49625" x2="11000" y2="47125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3256" t="7288" r="7881" b="3666"/>
          <a:stretch>
            <a:fillRect/>
          </a:stretch>
        </p:blipFill>
        <p:spPr bwMode="auto">
          <a:xfrm>
            <a:off x="11323674" y="5975673"/>
            <a:ext cx="648588" cy="6499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Imagem 5" descr="Interface gráfica do usuário&#10;&#10;O conteúdo gerado por IA pode estar incorreto.">
            <a:extLst>
              <a:ext uri="{FF2B5EF4-FFF2-40B4-BE49-F238E27FC236}">
                <a16:creationId xmlns:a16="http://schemas.microsoft.com/office/drawing/2014/main" id="{58CA0F46-6364-341E-F4FF-2B7672981D6A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7565" y="602800"/>
            <a:ext cx="10056869" cy="5652400"/>
          </a:xfrm>
          <a:prstGeom prst="rect">
            <a:avLst/>
          </a:prstGeom>
        </p:spPr>
      </p:pic>
      <p:sp>
        <p:nvSpPr>
          <p:cNvPr id="9" name="CaixaDeTexto 8">
            <a:extLst>
              <a:ext uri="{FF2B5EF4-FFF2-40B4-BE49-F238E27FC236}">
                <a16:creationId xmlns:a16="http://schemas.microsoft.com/office/drawing/2014/main" id="{0B55E971-A4FA-6E17-919A-9B5E17FAD48C}"/>
              </a:ext>
            </a:extLst>
          </p:cNvPr>
          <p:cNvSpPr txBox="1"/>
          <p:nvPr/>
        </p:nvSpPr>
        <p:spPr>
          <a:xfrm>
            <a:off x="6354" y="1277310"/>
            <a:ext cx="1036674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43681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360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Candara" panose="020E0502030303020204" pitchFamily="34" charset="0"/>
                <a:cs typeface="Cavolini" panose="020B0502040204020203" pitchFamily="66" charset="0"/>
              </a:rPr>
              <a:t>ES</a:t>
            </a:r>
          </a:p>
        </p:txBody>
      </p:sp>
      <p:pic>
        <p:nvPicPr>
          <p:cNvPr id="12" name="Imagem 11" descr="Logotipo, nome da empresa&#10;&#10;O conteúdo gerado por IA pode estar incorreto.">
            <a:extLst>
              <a:ext uri="{FF2B5EF4-FFF2-40B4-BE49-F238E27FC236}">
                <a16:creationId xmlns:a16="http://schemas.microsoft.com/office/drawing/2014/main" id="{E5150E34-470A-6ECA-4C78-D80360C42F66}"/>
              </a:ext>
            </a:extLst>
          </p:cNvPr>
          <p:cNvPicPr>
            <a:picLocks noChangeAspect="1"/>
          </p:cNvPicPr>
          <p:nvPr/>
        </p:nvPicPr>
        <p:blipFill>
          <a:blip r:embed="rId7"/>
          <a:srcRect l="12472" t="14873" r="15078" b="13288"/>
          <a:stretch>
            <a:fillRect/>
          </a:stretch>
        </p:blipFill>
        <p:spPr>
          <a:xfrm>
            <a:off x="9494873" y="278283"/>
            <a:ext cx="2254103" cy="1260678"/>
          </a:xfrm>
          <a:prstGeom prst="ellipse">
            <a:avLst/>
          </a:prstGeom>
        </p:spPr>
      </p:pic>
    </p:spTree>
    <p:extLst>
      <p:ext uri="{BB962C8B-B14F-4D97-AF65-F5344CB8AC3E}">
        <p14:creationId xmlns:p14="http://schemas.microsoft.com/office/powerpoint/2010/main" val="8805577"/>
      </p:ext>
    </p:extLst>
  </p:cSld>
  <p:clrMapOvr>
    <a:masterClrMapping/>
  </p:clrMapOvr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D2D6EF72-0459-85D2-A94C-7C5C19F0C13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m 3">
            <a:extLst>
              <a:ext uri="{FF2B5EF4-FFF2-40B4-BE49-F238E27FC236}">
                <a16:creationId xmlns:a16="http://schemas.microsoft.com/office/drawing/2014/main" id="{C5EF78D4-4276-1110-EE2E-0B03601BE52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9286" y="785370"/>
            <a:ext cx="9404148" cy="5287260"/>
          </a:xfrm>
          <a:prstGeom prst="rect">
            <a:avLst/>
          </a:prstGeom>
        </p:spPr>
      </p:pic>
      <p:pic>
        <p:nvPicPr>
          <p:cNvPr id="3" name="Imagem 2" descr="Interface gráfica do usuário&#10;&#10;O conteúdo gerado por IA pode estar incorreto.">
            <a:extLst>
              <a:ext uri="{FF2B5EF4-FFF2-40B4-BE49-F238E27FC236}">
                <a16:creationId xmlns:a16="http://schemas.microsoft.com/office/drawing/2014/main" id="{47EA64D2-F059-A2FB-5992-2788FAAC26BC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57678" y="263809"/>
            <a:ext cx="926070" cy="379015"/>
          </a:xfrm>
          <a:prstGeom prst="rect">
            <a:avLst/>
          </a:prstGeom>
        </p:spPr>
      </p:pic>
      <p:pic>
        <p:nvPicPr>
          <p:cNvPr id="1026" name="Picture 2" descr="logo claro PNG &amp; clipart images | Citypng">
            <a:extLst>
              <a:ext uri="{FF2B5EF4-FFF2-40B4-BE49-F238E27FC236}">
                <a16:creationId xmlns:a16="http://schemas.microsoft.com/office/drawing/2014/main" id="{87DFD90E-30DB-9B8A-FDD0-6627F0D3D80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ackgroundRemoval t="8875" b="90500" l="9625" r="90375">
                        <a14:foregroundMark x1="35125" y1="42750" x2="35125" y2="42750"/>
                        <a14:foregroundMark x1="35250" y1="45125" x2="33750" y2="54125"/>
                        <a14:foregroundMark x1="33750" y1="54125" x2="41375" y2="48750"/>
                        <a14:foregroundMark x1="41375" y1="48750" x2="36875" y2="40375"/>
                        <a14:foregroundMark x1="36875" y1="40375" x2="31375" y2="43625"/>
                        <a14:foregroundMark x1="22000" y1="41875" x2="12375" y2="50500"/>
                        <a14:foregroundMark x1="12375" y1="50500" x2="25625" y2="62375"/>
                        <a14:foregroundMark x1="25625" y1="62375" x2="52750" y2="64125"/>
                        <a14:foregroundMark x1="52750" y1="64125" x2="73500" y2="62500"/>
                        <a14:foregroundMark x1="73500" y1="62500" x2="87375" y2="56375"/>
                        <a14:foregroundMark x1="87375" y1="56375" x2="87125" y2="45625"/>
                        <a14:foregroundMark x1="87125" y1="45625" x2="84625" y2="37625"/>
                        <a14:foregroundMark x1="84625" y1="37625" x2="76500" y2="32125"/>
                        <a14:foregroundMark x1="76500" y1="32125" x2="57500" y2="27250"/>
                        <a14:foregroundMark x1="57500" y1="27250" x2="20250" y2="28750"/>
                        <a14:foregroundMark x1="20250" y1="28750" x2="15750" y2="38375"/>
                        <a14:foregroundMark x1="15750" y1="38375" x2="12250" y2="41125"/>
                        <a14:foregroundMark x1="28375" y1="36125" x2="17625" y2="48125"/>
                        <a14:foregroundMark x1="17625" y1="48125" x2="23875" y2="57625"/>
                        <a14:foregroundMark x1="23875" y1="57625" x2="34500" y2="44000"/>
                        <a14:foregroundMark x1="34500" y1="44000" x2="21250" y2="39375"/>
                        <a14:foregroundMark x1="21250" y1="39375" x2="19250" y2="41250"/>
                        <a14:foregroundMark x1="26250" y1="40250" x2="27375" y2="52750"/>
                        <a14:foregroundMark x1="27375" y1="52750" x2="28875" y2="40125"/>
                        <a14:foregroundMark x1="28875" y1="40125" x2="18750" y2="45500"/>
                        <a14:foregroundMark x1="18750" y1="45500" x2="20750" y2="48625"/>
                        <a14:foregroundMark x1="26875" y1="40625" x2="27375" y2="58250"/>
                        <a14:foregroundMark x1="27375" y1="58250" x2="30625" y2="48375"/>
                        <a14:foregroundMark x1="30625" y1="48375" x2="20375" y2="51125"/>
                        <a14:foregroundMark x1="20375" y1="51125" x2="20375" y2="52375"/>
                        <a14:foregroundMark x1="19125" y1="42500" x2="25500" y2="55125"/>
                        <a14:foregroundMark x1="25500" y1="55125" x2="25125" y2="59500"/>
                        <a14:foregroundMark x1="22250" y1="56750" x2="21750" y2="58125"/>
                        <a14:foregroundMark x1="38500" y1="39875" x2="29750" y2="53250"/>
                        <a14:foregroundMark x1="29750" y1="53250" x2="34875" y2="62125"/>
                        <a14:foregroundMark x1="34875" y1="62125" x2="39750" y2="49375"/>
                        <a14:foregroundMark x1="39750" y1="49375" x2="36125" y2="43000"/>
                        <a14:foregroundMark x1="43375" y1="42375" x2="41000" y2="60750"/>
                        <a14:foregroundMark x1="41000" y1="60750" x2="51625" y2="47750"/>
                        <a14:foregroundMark x1="51625" y1="47750" x2="43375" y2="46875"/>
                        <a14:foregroundMark x1="43375" y1="46875" x2="41375" y2="48000"/>
                        <a14:foregroundMark x1="47125" y1="50750" x2="48375" y2="59000"/>
                        <a14:foregroundMark x1="48375" y1="59000" x2="45125" y2="53500"/>
                        <a14:foregroundMark x1="53625" y1="43250" x2="52125" y2="50125"/>
                        <a14:foregroundMark x1="52125" y1="50125" x2="54125" y2="58375"/>
                        <a14:foregroundMark x1="54125" y1="58375" x2="58125" y2="50500"/>
                        <a14:foregroundMark x1="58125" y1="50500" x2="53250" y2="45125"/>
                        <a14:foregroundMark x1="53250" y1="45125" x2="51500" y2="45375"/>
                        <a14:foregroundMark x1="58625" y1="42000" x2="59750" y2="52125"/>
                        <a14:foregroundMark x1="59750" y1="52125" x2="57750" y2="45000"/>
                        <a14:foregroundMark x1="63000" y1="45375" x2="61000" y2="62375"/>
                        <a14:foregroundMark x1="61000" y1="62375" x2="73375" y2="56375"/>
                        <a14:foregroundMark x1="73375" y1="56375" x2="72000" y2="45625"/>
                        <a14:foregroundMark x1="72000" y1="45625" x2="64375" y2="43500"/>
                        <a14:foregroundMark x1="64375" y1="43500" x2="61750" y2="33375"/>
                        <a14:foregroundMark x1="61750" y1="33375" x2="72625" y2="31250"/>
                        <a14:foregroundMark x1="72625" y1="31250" x2="67750" y2="44000"/>
                        <a14:foregroundMark x1="67750" y1="44000" x2="73125" y2="38125"/>
                        <a14:foregroundMark x1="73125" y1="38125" x2="81750" y2="37125"/>
                        <a14:foregroundMark x1="81750" y1="37125" x2="77625" y2="50250"/>
                        <a14:foregroundMark x1="77625" y1="50250" x2="81750" y2="52375"/>
                        <a14:foregroundMark x1="68875" y1="31750" x2="67125" y2="43250"/>
                        <a14:foregroundMark x1="67125" y1="43250" x2="69125" y2="34625"/>
                        <a14:foregroundMark x1="78750" y1="32500" x2="75250" y2="44500"/>
                        <a14:foregroundMark x1="75250" y1="44500" x2="79875" y2="36750"/>
                        <a14:foregroundMark x1="79875" y1="36750" x2="76875" y2="36375"/>
                        <a14:foregroundMark x1="78750" y1="46625" x2="80125" y2="55500"/>
                        <a14:foregroundMark x1="80125" y1="55500" x2="80750" y2="46125"/>
                        <a14:foregroundMark x1="80750" y1="46125" x2="77750" y2="45875"/>
                        <a14:foregroundMark x1="90375" y1="44000" x2="88750" y2="56375"/>
                        <a14:foregroundMark x1="45750" y1="10250" x2="57875" y2="11500"/>
                        <a14:foregroundMark x1="54125" y1="8875" x2="53500" y2="9125"/>
                        <a14:foregroundMark x1="49500" y1="90500" x2="54125" y2="89500"/>
                        <a14:foregroundMark x1="9625" y1="49625" x2="11000" y2="47125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3256" t="7288" r="7881" b="3666"/>
          <a:stretch>
            <a:fillRect/>
          </a:stretch>
        </p:blipFill>
        <p:spPr bwMode="auto">
          <a:xfrm>
            <a:off x="11238614" y="5890437"/>
            <a:ext cx="733648" cy="7351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Imagem 8" descr="Logotipo, nome da empresa&#10;&#10;O conteúdo gerado por IA pode estar incorreto.">
            <a:extLst>
              <a:ext uri="{FF2B5EF4-FFF2-40B4-BE49-F238E27FC236}">
                <a16:creationId xmlns:a16="http://schemas.microsoft.com/office/drawing/2014/main" id="{4CA070EE-C2A6-FFC7-E043-387DF50014BB}"/>
              </a:ext>
            </a:extLst>
          </p:cNvPr>
          <p:cNvPicPr>
            <a:picLocks noChangeAspect="1"/>
          </p:cNvPicPr>
          <p:nvPr/>
        </p:nvPicPr>
        <p:blipFill>
          <a:blip r:embed="rId7"/>
          <a:srcRect l="12472" t="14873" r="15078" b="13288"/>
          <a:stretch>
            <a:fillRect/>
          </a:stretch>
        </p:blipFill>
        <p:spPr>
          <a:xfrm>
            <a:off x="441369" y="263809"/>
            <a:ext cx="3577068" cy="2000587"/>
          </a:xfrm>
          <a:prstGeom prst="ellipse">
            <a:avLst/>
          </a:prstGeom>
        </p:spPr>
      </p:pic>
    </p:spTree>
    <p:extLst>
      <p:ext uri="{BB962C8B-B14F-4D97-AF65-F5344CB8AC3E}">
        <p14:creationId xmlns:p14="http://schemas.microsoft.com/office/powerpoint/2010/main" val="1703729123"/>
      </p:ext>
    </p:extLst>
  </p:cSld>
  <p:clrMapOvr>
    <a:masterClrMapping/>
  </p:clrMapOvr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577B5EEB-B073-CA66-9826-FB146BA1DD8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m 6">
            <a:extLst>
              <a:ext uri="{FF2B5EF4-FFF2-40B4-BE49-F238E27FC236}">
                <a16:creationId xmlns:a16="http://schemas.microsoft.com/office/drawing/2014/main" id="{3E540CB7-A821-3F65-5927-87E41BF66E7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1255809" y="966262"/>
            <a:ext cx="9680381" cy="5442565"/>
          </a:xfrm>
          <a:prstGeom prst="rect">
            <a:avLst/>
          </a:prstGeom>
        </p:spPr>
      </p:pic>
      <p:pic>
        <p:nvPicPr>
          <p:cNvPr id="3" name="Imagem 2" descr="Interface gráfica do usuário&#10;&#10;O conteúdo gerado por IA pode estar incorreto.">
            <a:extLst>
              <a:ext uri="{FF2B5EF4-FFF2-40B4-BE49-F238E27FC236}">
                <a16:creationId xmlns:a16="http://schemas.microsoft.com/office/drawing/2014/main" id="{B20A198B-D969-303D-3208-F8F3FB2EA8A0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6958" y="248306"/>
            <a:ext cx="926070" cy="379015"/>
          </a:xfrm>
          <a:prstGeom prst="rect">
            <a:avLst/>
          </a:prstGeom>
        </p:spPr>
      </p:pic>
      <p:pic>
        <p:nvPicPr>
          <p:cNvPr id="1026" name="Picture 2" descr="logo claro PNG &amp; clipart images | Citypng">
            <a:extLst>
              <a:ext uri="{FF2B5EF4-FFF2-40B4-BE49-F238E27FC236}">
                <a16:creationId xmlns:a16="http://schemas.microsoft.com/office/drawing/2014/main" id="{8F5C33B4-8B9E-89F7-DDD4-91A100B7CD37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ackgroundRemoval t="8875" b="90500" l="9625" r="90375">
                        <a14:foregroundMark x1="35125" y1="42750" x2="35125" y2="42750"/>
                        <a14:foregroundMark x1="35250" y1="45125" x2="33750" y2="54125"/>
                        <a14:foregroundMark x1="33750" y1="54125" x2="41375" y2="48750"/>
                        <a14:foregroundMark x1="41375" y1="48750" x2="36875" y2="40375"/>
                        <a14:foregroundMark x1="36875" y1="40375" x2="31375" y2="43625"/>
                        <a14:foregroundMark x1="22000" y1="41875" x2="12375" y2="50500"/>
                        <a14:foregroundMark x1="12375" y1="50500" x2="25625" y2="62375"/>
                        <a14:foregroundMark x1="25625" y1="62375" x2="52750" y2="64125"/>
                        <a14:foregroundMark x1="52750" y1="64125" x2="73500" y2="62500"/>
                        <a14:foregroundMark x1="73500" y1="62500" x2="87375" y2="56375"/>
                        <a14:foregroundMark x1="87375" y1="56375" x2="87125" y2="45625"/>
                        <a14:foregroundMark x1="87125" y1="45625" x2="84625" y2="37625"/>
                        <a14:foregroundMark x1="84625" y1="37625" x2="76500" y2="32125"/>
                        <a14:foregroundMark x1="76500" y1="32125" x2="57500" y2="27250"/>
                        <a14:foregroundMark x1="57500" y1="27250" x2="20250" y2="28750"/>
                        <a14:foregroundMark x1="20250" y1="28750" x2="15750" y2="38375"/>
                        <a14:foregroundMark x1="15750" y1="38375" x2="12250" y2="41125"/>
                        <a14:foregroundMark x1="28375" y1="36125" x2="17625" y2="48125"/>
                        <a14:foregroundMark x1="17625" y1="48125" x2="23875" y2="57625"/>
                        <a14:foregroundMark x1="23875" y1="57625" x2="34500" y2="44000"/>
                        <a14:foregroundMark x1="34500" y1="44000" x2="21250" y2="39375"/>
                        <a14:foregroundMark x1="21250" y1="39375" x2="19250" y2="41250"/>
                        <a14:foregroundMark x1="26250" y1="40250" x2="27375" y2="52750"/>
                        <a14:foregroundMark x1="27375" y1="52750" x2="28875" y2="40125"/>
                        <a14:foregroundMark x1="28875" y1="40125" x2="18750" y2="45500"/>
                        <a14:foregroundMark x1="18750" y1="45500" x2="20750" y2="48625"/>
                        <a14:foregroundMark x1="26875" y1="40625" x2="27375" y2="58250"/>
                        <a14:foregroundMark x1="27375" y1="58250" x2="30625" y2="48375"/>
                        <a14:foregroundMark x1="30625" y1="48375" x2="20375" y2="51125"/>
                        <a14:foregroundMark x1="20375" y1="51125" x2="20375" y2="52375"/>
                        <a14:foregroundMark x1="19125" y1="42500" x2="25500" y2="55125"/>
                        <a14:foregroundMark x1="25500" y1="55125" x2="25125" y2="59500"/>
                        <a14:foregroundMark x1="22250" y1="56750" x2="21750" y2="58125"/>
                        <a14:foregroundMark x1="38500" y1="39875" x2="29750" y2="53250"/>
                        <a14:foregroundMark x1="29750" y1="53250" x2="34875" y2="62125"/>
                        <a14:foregroundMark x1="34875" y1="62125" x2="39750" y2="49375"/>
                        <a14:foregroundMark x1="39750" y1="49375" x2="36125" y2="43000"/>
                        <a14:foregroundMark x1="43375" y1="42375" x2="41000" y2="60750"/>
                        <a14:foregroundMark x1="41000" y1="60750" x2="51625" y2="47750"/>
                        <a14:foregroundMark x1="51625" y1="47750" x2="43375" y2="46875"/>
                        <a14:foregroundMark x1="43375" y1="46875" x2="41375" y2="48000"/>
                        <a14:foregroundMark x1="47125" y1="50750" x2="48375" y2="59000"/>
                        <a14:foregroundMark x1="48375" y1="59000" x2="45125" y2="53500"/>
                        <a14:foregroundMark x1="53625" y1="43250" x2="52125" y2="50125"/>
                        <a14:foregroundMark x1="52125" y1="50125" x2="54125" y2="58375"/>
                        <a14:foregroundMark x1="54125" y1="58375" x2="58125" y2="50500"/>
                        <a14:foregroundMark x1="58125" y1="50500" x2="53250" y2="45125"/>
                        <a14:foregroundMark x1="53250" y1="45125" x2="51500" y2="45375"/>
                        <a14:foregroundMark x1="58625" y1="42000" x2="59750" y2="52125"/>
                        <a14:foregroundMark x1="59750" y1="52125" x2="57750" y2="45000"/>
                        <a14:foregroundMark x1="63000" y1="45375" x2="61000" y2="62375"/>
                        <a14:foregroundMark x1="61000" y1="62375" x2="73375" y2="56375"/>
                        <a14:foregroundMark x1="73375" y1="56375" x2="72000" y2="45625"/>
                        <a14:foregroundMark x1="72000" y1="45625" x2="64375" y2="43500"/>
                        <a14:foregroundMark x1="64375" y1="43500" x2="61750" y2="33375"/>
                        <a14:foregroundMark x1="61750" y1="33375" x2="72625" y2="31250"/>
                        <a14:foregroundMark x1="72625" y1="31250" x2="67750" y2="44000"/>
                        <a14:foregroundMark x1="67750" y1="44000" x2="73125" y2="38125"/>
                        <a14:foregroundMark x1="73125" y1="38125" x2="81750" y2="37125"/>
                        <a14:foregroundMark x1="81750" y1="37125" x2="77625" y2="50250"/>
                        <a14:foregroundMark x1="77625" y1="50250" x2="81750" y2="52375"/>
                        <a14:foregroundMark x1="68875" y1="31750" x2="67125" y2="43250"/>
                        <a14:foregroundMark x1="67125" y1="43250" x2="69125" y2="34625"/>
                        <a14:foregroundMark x1="78750" y1="32500" x2="75250" y2="44500"/>
                        <a14:foregroundMark x1="75250" y1="44500" x2="79875" y2="36750"/>
                        <a14:foregroundMark x1="79875" y1="36750" x2="76875" y2="36375"/>
                        <a14:foregroundMark x1="78750" y1="46625" x2="80125" y2="55500"/>
                        <a14:foregroundMark x1="80125" y1="55500" x2="80750" y2="46125"/>
                        <a14:foregroundMark x1="80750" y1="46125" x2="77750" y2="45875"/>
                        <a14:foregroundMark x1="90375" y1="44000" x2="88750" y2="56375"/>
                        <a14:foregroundMark x1="45750" y1="10250" x2="57875" y2="11500"/>
                        <a14:foregroundMark x1="54125" y1="8875" x2="53500" y2="9125"/>
                        <a14:foregroundMark x1="49500" y1="90500" x2="54125" y2="89500"/>
                        <a14:foregroundMark x1="9625" y1="49625" x2="11000" y2="47125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3256" t="7288" r="7881" b="3666"/>
          <a:stretch>
            <a:fillRect/>
          </a:stretch>
        </p:blipFill>
        <p:spPr bwMode="auto">
          <a:xfrm>
            <a:off x="11238614" y="5890437"/>
            <a:ext cx="733648" cy="7351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Imagem 8" descr="Logotipo, nome da empresa&#10;&#10;O conteúdo gerado por IA pode estar incorreto.">
            <a:extLst>
              <a:ext uri="{FF2B5EF4-FFF2-40B4-BE49-F238E27FC236}">
                <a16:creationId xmlns:a16="http://schemas.microsoft.com/office/drawing/2014/main" id="{C072DF73-F8C5-8581-DA74-ABFDCD199EEF}"/>
              </a:ext>
            </a:extLst>
          </p:cNvPr>
          <p:cNvPicPr>
            <a:picLocks noChangeAspect="1"/>
          </p:cNvPicPr>
          <p:nvPr/>
        </p:nvPicPr>
        <p:blipFill>
          <a:blip r:embed="rId7"/>
          <a:srcRect l="12472" t="14873" r="15078" b="13288"/>
          <a:stretch>
            <a:fillRect/>
          </a:stretch>
        </p:blipFill>
        <p:spPr>
          <a:xfrm>
            <a:off x="8036560" y="126386"/>
            <a:ext cx="3904301" cy="2183602"/>
          </a:xfrm>
          <a:prstGeom prst="ellipse">
            <a:avLst/>
          </a:prstGeom>
        </p:spPr>
      </p:pic>
    </p:spTree>
    <p:extLst>
      <p:ext uri="{BB962C8B-B14F-4D97-AF65-F5344CB8AC3E}">
        <p14:creationId xmlns:p14="http://schemas.microsoft.com/office/powerpoint/2010/main" val="3227374609"/>
      </p:ext>
    </p:extLst>
  </p:cSld>
  <p:clrMapOvr>
    <a:masterClrMapping/>
  </p:clrMapOvr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EA2F214C-4DF9-F1AF-DC77-FFCB6B1CBA4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m 4">
            <a:extLst>
              <a:ext uri="{FF2B5EF4-FFF2-40B4-BE49-F238E27FC236}">
                <a16:creationId xmlns:a16="http://schemas.microsoft.com/office/drawing/2014/main" id="{FAD46012-4746-3DD2-2DA0-FBD388C87CD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36995" y="1077858"/>
            <a:ext cx="8833529" cy="4966443"/>
          </a:xfrm>
          <a:prstGeom prst="rect">
            <a:avLst/>
          </a:prstGeom>
        </p:spPr>
      </p:pic>
      <p:pic>
        <p:nvPicPr>
          <p:cNvPr id="3" name="Imagem 2" descr="Interface gráfica do usuário&#10;&#10;O conteúdo gerado por IA pode estar incorreto.">
            <a:extLst>
              <a:ext uri="{FF2B5EF4-FFF2-40B4-BE49-F238E27FC236}">
                <a16:creationId xmlns:a16="http://schemas.microsoft.com/office/drawing/2014/main" id="{99099C29-C21D-05AA-AC3E-92DD9B6DA980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6958" y="248306"/>
            <a:ext cx="926070" cy="379015"/>
          </a:xfrm>
          <a:prstGeom prst="rect">
            <a:avLst/>
          </a:prstGeom>
        </p:spPr>
      </p:pic>
      <p:pic>
        <p:nvPicPr>
          <p:cNvPr id="1026" name="Picture 2" descr="logo claro PNG &amp; clipart images | Citypng">
            <a:extLst>
              <a:ext uri="{FF2B5EF4-FFF2-40B4-BE49-F238E27FC236}">
                <a16:creationId xmlns:a16="http://schemas.microsoft.com/office/drawing/2014/main" id="{E746F1BF-D614-2E8F-1FF1-1253B3DCA0C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ackgroundRemoval t="8875" b="90500" l="9625" r="90375">
                        <a14:foregroundMark x1="35125" y1="42750" x2="35125" y2="42750"/>
                        <a14:foregroundMark x1="35250" y1="45125" x2="33750" y2="54125"/>
                        <a14:foregroundMark x1="33750" y1="54125" x2="41375" y2="48750"/>
                        <a14:foregroundMark x1="41375" y1="48750" x2="36875" y2="40375"/>
                        <a14:foregroundMark x1="36875" y1="40375" x2="31375" y2="43625"/>
                        <a14:foregroundMark x1="22000" y1="41875" x2="12375" y2="50500"/>
                        <a14:foregroundMark x1="12375" y1="50500" x2="25625" y2="62375"/>
                        <a14:foregroundMark x1="25625" y1="62375" x2="52750" y2="64125"/>
                        <a14:foregroundMark x1="52750" y1="64125" x2="73500" y2="62500"/>
                        <a14:foregroundMark x1="73500" y1="62500" x2="87375" y2="56375"/>
                        <a14:foregroundMark x1="87375" y1="56375" x2="87125" y2="45625"/>
                        <a14:foregroundMark x1="87125" y1="45625" x2="84625" y2="37625"/>
                        <a14:foregroundMark x1="84625" y1="37625" x2="76500" y2="32125"/>
                        <a14:foregroundMark x1="76500" y1="32125" x2="57500" y2="27250"/>
                        <a14:foregroundMark x1="57500" y1="27250" x2="20250" y2="28750"/>
                        <a14:foregroundMark x1="20250" y1="28750" x2="15750" y2="38375"/>
                        <a14:foregroundMark x1="15750" y1="38375" x2="12250" y2="41125"/>
                        <a14:foregroundMark x1="28375" y1="36125" x2="17625" y2="48125"/>
                        <a14:foregroundMark x1="17625" y1="48125" x2="23875" y2="57625"/>
                        <a14:foregroundMark x1="23875" y1="57625" x2="34500" y2="44000"/>
                        <a14:foregroundMark x1="34500" y1="44000" x2="21250" y2="39375"/>
                        <a14:foregroundMark x1="21250" y1="39375" x2="19250" y2="41250"/>
                        <a14:foregroundMark x1="26250" y1="40250" x2="27375" y2="52750"/>
                        <a14:foregroundMark x1="27375" y1="52750" x2="28875" y2="40125"/>
                        <a14:foregroundMark x1="28875" y1="40125" x2="18750" y2="45500"/>
                        <a14:foregroundMark x1="18750" y1="45500" x2="20750" y2="48625"/>
                        <a14:foregroundMark x1="26875" y1="40625" x2="27375" y2="58250"/>
                        <a14:foregroundMark x1="27375" y1="58250" x2="30625" y2="48375"/>
                        <a14:foregroundMark x1="30625" y1="48375" x2="20375" y2="51125"/>
                        <a14:foregroundMark x1="20375" y1="51125" x2="20375" y2="52375"/>
                        <a14:foregroundMark x1="19125" y1="42500" x2="25500" y2="55125"/>
                        <a14:foregroundMark x1="25500" y1="55125" x2="25125" y2="59500"/>
                        <a14:foregroundMark x1="22250" y1="56750" x2="21750" y2="58125"/>
                        <a14:foregroundMark x1="38500" y1="39875" x2="29750" y2="53250"/>
                        <a14:foregroundMark x1="29750" y1="53250" x2="34875" y2="62125"/>
                        <a14:foregroundMark x1="34875" y1="62125" x2="39750" y2="49375"/>
                        <a14:foregroundMark x1="39750" y1="49375" x2="36125" y2="43000"/>
                        <a14:foregroundMark x1="43375" y1="42375" x2="41000" y2="60750"/>
                        <a14:foregroundMark x1="41000" y1="60750" x2="51625" y2="47750"/>
                        <a14:foregroundMark x1="51625" y1="47750" x2="43375" y2="46875"/>
                        <a14:foregroundMark x1="43375" y1="46875" x2="41375" y2="48000"/>
                        <a14:foregroundMark x1="47125" y1="50750" x2="48375" y2="59000"/>
                        <a14:foregroundMark x1="48375" y1="59000" x2="45125" y2="53500"/>
                        <a14:foregroundMark x1="53625" y1="43250" x2="52125" y2="50125"/>
                        <a14:foregroundMark x1="52125" y1="50125" x2="54125" y2="58375"/>
                        <a14:foregroundMark x1="54125" y1="58375" x2="58125" y2="50500"/>
                        <a14:foregroundMark x1="58125" y1="50500" x2="53250" y2="45125"/>
                        <a14:foregroundMark x1="53250" y1="45125" x2="51500" y2="45375"/>
                        <a14:foregroundMark x1="58625" y1="42000" x2="59750" y2="52125"/>
                        <a14:foregroundMark x1="59750" y1="52125" x2="57750" y2="45000"/>
                        <a14:foregroundMark x1="63000" y1="45375" x2="61000" y2="62375"/>
                        <a14:foregroundMark x1="61000" y1="62375" x2="73375" y2="56375"/>
                        <a14:foregroundMark x1="73375" y1="56375" x2="72000" y2="45625"/>
                        <a14:foregroundMark x1="72000" y1="45625" x2="64375" y2="43500"/>
                        <a14:foregroundMark x1="64375" y1="43500" x2="61750" y2="33375"/>
                        <a14:foregroundMark x1="61750" y1="33375" x2="72625" y2="31250"/>
                        <a14:foregroundMark x1="72625" y1="31250" x2="67750" y2="44000"/>
                        <a14:foregroundMark x1="67750" y1="44000" x2="73125" y2="38125"/>
                        <a14:foregroundMark x1="73125" y1="38125" x2="81750" y2="37125"/>
                        <a14:foregroundMark x1="81750" y1="37125" x2="77625" y2="50250"/>
                        <a14:foregroundMark x1="77625" y1="50250" x2="81750" y2="52375"/>
                        <a14:foregroundMark x1="68875" y1="31750" x2="67125" y2="43250"/>
                        <a14:foregroundMark x1="67125" y1="43250" x2="69125" y2="34625"/>
                        <a14:foregroundMark x1="78750" y1="32500" x2="75250" y2="44500"/>
                        <a14:foregroundMark x1="75250" y1="44500" x2="79875" y2="36750"/>
                        <a14:foregroundMark x1="79875" y1="36750" x2="76875" y2="36375"/>
                        <a14:foregroundMark x1="78750" y1="46625" x2="80125" y2="55500"/>
                        <a14:foregroundMark x1="80125" y1="55500" x2="80750" y2="46125"/>
                        <a14:foregroundMark x1="80750" y1="46125" x2="77750" y2="45875"/>
                        <a14:foregroundMark x1="90375" y1="44000" x2="88750" y2="56375"/>
                        <a14:foregroundMark x1="45750" y1="10250" x2="57875" y2="11500"/>
                        <a14:foregroundMark x1="54125" y1="8875" x2="53500" y2="9125"/>
                        <a14:foregroundMark x1="49500" y1="90500" x2="54125" y2="89500"/>
                        <a14:foregroundMark x1="9625" y1="49625" x2="11000" y2="47125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3256" t="7288" r="7881" b="3666"/>
          <a:stretch>
            <a:fillRect/>
          </a:stretch>
        </p:blipFill>
        <p:spPr bwMode="auto">
          <a:xfrm>
            <a:off x="11238614" y="5890437"/>
            <a:ext cx="733648" cy="7351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Imagem 8" descr="Logotipo, nome da empresa&#10;&#10;O conteúdo gerado por IA pode estar incorreto.">
            <a:extLst>
              <a:ext uri="{FF2B5EF4-FFF2-40B4-BE49-F238E27FC236}">
                <a16:creationId xmlns:a16="http://schemas.microsoft.com/office/drawing/2014/main" id="{5F625327-D48B-DCE4-D858-EC65ECFEC707}"/>
              </a:ext>
            </a:extLst>
          </p:cNvPr>
          <p:cNvPicPr>
            <a:picLocks noChangeAspect="1"/>
          </p:cNvPicPr>
          <p:nvPr/>
        </p:nvPicPr>
        <p:blipFill>
          <a:blip r:embed="rId7"/>
          <a:srcRect l="12472" t="14873" r="15078" b="13288"/>
          <a:stretch>
            <a:fillRect/>
          </a:stretch>
        </p:blipFill>
        <p:spPr>
          <a:xfrm>
            <a:off x="8427129" y="627321"/>
            <a:ext cx="2732568" cy="1528274"/>
          </a:xfrm>
          <a:prstGeom prst="ellipse">
            <a:avLst/>
          </a:prstGeom>
        </p:spPr>
      </p:pic>
    </p:spTree>
    <p:extLst>
      <p:ext uri="{BB962C8B-B14F-4D97-AF65-F5344CB8AC3E}">
        <p14:creationId xmlns:p14="http://schemas.microsoft.com/office/powerpoint/2010/main" val="2657247531"/>
      </p:ext>
    </p:extLst>
  </p:cSld>
  <p:clrMapOvr>
    <a:masterClrMapping/>
  </p:clrMapOvr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26943829-9CAC-760A-5CA9-6BB4426E8A9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m 2" descr="Interface gráfica do usuário&#10;&#10;O conteúdo gerado por IA pode estar incorreto.">
            <a:extLst>
              <a:ext uri="{FF2B5EF4-FFF2-40B4-BE49-F238E27FC236}">
                <a16:creationId xmlns:a16="http://schemas.microsoft.com/office/drawing/2014/main" id="{2E17D613-5B50-3D36-2B38-925CB203653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6447" y="248306"/>
            <a:ext cx="1371600" cy="561358"/>
          </a:xfrm>
          <a:prstGeom prst="rect">
            <a:avLst/>
          </a:prstGeom>
        </p:spPr>
      </p:pic>
      <p:pic>
        <p:nvPicPr>
          <p:cNvPr id="1026" name="Picture 2" descr="logo claro PNG &amp; clipart images | Citypng">
            <a:extLst>
              <a:ext uri="{FF2B5EF4-FFF2-40B4-BE49-F238E27FC236}">
                <a16:creationId xmlns:a16="http://schemas.microsoft.com/office/drawing/2014/main" id="{5173CB23-242D-7224-413A-9442C37984D6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ackgroundRemoval t="8875" b="90500" l="9625" r="90375">
                        <a14:foregroundMark x1="35125" y1="42750" x2="35125" y2="42750"/>
                        <a14:foregroundMark x1="35250" y1="45125" x2="33750" y2="54125"/>
                        <a14:foregroundMark x1="33750" y1="54125" x2="41375" y2="48750"/>
                        <a14:foregroundMark x1="41375" y1="48750" x2="36875" y2="40375"/>
                        <a14:foregroundMark x1="36875" y1="40375" x2="31375" y2="43625"/>
                        <a14:foregroundMark x1="22000" y1="41875" x2="12375" y2="50500"/>
                        <a14:foregroundMark x1="12375" y1="50500" x2="25625" y2="62375"/>
                        <a14:foregroundMark x1="25625" y1="62375" x2="52750" y2="64125"/>
                        <a14:foregroundMark x1="52750" y1="64125" x2="73500" y2="62500"/>
                        <a14:foregroundMark x1="73500" y1="62500" x2="87375" y2="56375"/>
                        <a14:foregroundMark x1="87375" y1="56375" x2="87125" y2="45625"/>
                        <a14:foregroundMark x1="87125" y1="45625" x2="84625" y2="37625"/>
                        <a14:foregroundMark x1="84625" y1="37625" x2="76500" y2="32125"/>
                        <a14:foregroundMark x1="76500" y1="32125" x2="57500" y2="27250"/>
                        <a14:foregroundMark x1="57500" y1="27250" x2="20250" y2="28750"/>
                        <a14:foregroundMark x1="20250" y1="28750" x2="15750" y2="38375"/>
                        <a14:foregroundMark x1="15750" y1="38375" x2="12250" y2="41125"/>
                        <a14:foregroundMark x1="28375" y1="36125" x2="17625" y2="48125"/>
                        <a14:foregroundMark x1="17625" y1="48125" x2="23875" y2="57625"/>
                        <a14:foregroundMark x1="23875" y1="57625" x2="34500" y2="44000"/>
                        <a14:foregroundMark x1="34500" y1="44000" x2="21250" y2="39375"/>
                        <a14:foregroundMark x1="21250" y1="39375" x2="19250" y2="41250"/>
                        <a14:foregroundMark x1="26250" y1="40250" x2="27375" y2="52750"/>
                        <a14:foregroundMark x1="27375" y1="52750" x2="28875" y2="40125"/>
                        <a14:foregroundMark x1="28875" y1="40125" x2="18750" y2="45500"/>
                        <a14:foregroundMark x1="18750" y1="45500" x2="20750" y2="48625"/>
                        <a14:foregroundMark x1="26875" y1="40625" x2="27375" y2="58250"/>
                        <a14:foregroundMark x1="27375" y1="58250" x2="30625" y2="48375"/>
                        <a14:foregroundMark x1="30625" y1="48375" x2="20375" y2="51125"/>
                        <a14:foregroundMark x1="20375" y1="51125" x2="20375" y2="52375"/>
                        <a14:foregroundMark x1="19125" y1="42500" x2="25500" y2="55125"/>
                        <a14:foregroundMark x1="25500" y1="55125" x2="25125" y2="59500"/>
                        <a14:foregroundMark x1="22250" y1="56750" x2="21750" y2="58125"/>
                        <a14:foregroundMark x1="38500" y1="39875" x2="29750" y2="53250"/>
                        <a14:foregroundMark x1="29750" y1="53250" x2="34875" y2="62125"/>
                        <a14:foregroundMark x1="34875" y1="62125" x2="39750" y2="49375"/>
                        <a14:foregroundMark x1="39750" y1="49375" x2="36125" y2="43000"/>
                        <a14:foregroundMark x1="43375" y1="42375" x2="41000" y2="60750"/>
                        <a14:foregroundMark x1="41000" y1="60750" x2="51625" y2="47750"/>
                        <a14:foregroundMark x1="51625" y1="47750" x2="43375" y2="46875"/>
                        <a14:foregroundMark x1="43375" y1="46875" x2="41375" y2="48000"/>
                        <a14:foregroundMark x1="47125" y1="50750" x2="48375" y2="59000"/>
                        <a14:foregroundMark x1="48375" y1="59000" x2="45125" y2="53500"/>
                        <a14:foregroundMark x1="53625" y1="43250" x2="52125" y2="50125"/>
                        <a14:foregroundMark x1="52125" y1="50125" x2="54125" y2="58375"/>
                        <a14:foregroundMark x1="54125" y1="58375" x2="58125" y2="50500"/>
                        <a14:foregroundMark x1="58125" y1="50500" x2="53250" y2="45125"/>
                        <a14:foregroundMark x1="53250" y1="45125" x2="51500" y2="45375"/>
                        <a14:foregroundMark x1="58625" y1="42000" x2="59750" y2="52125"/>
                        <a14:foregroundMark x1="59750" y1="52125" x2="57750" y2="45000"/>
                        <a14:foregroundMark x1="63000" y1="45375" x2="61000" y2="62375"/>
                        <a14:foregroundMark x1="61000" y1="62375" x2="73375" y2="56375"/>
                        <a14:foregroundMark x1="73375" y1="56375" x2="72000" y2="45625"/>
                        <a14:foregroundMark x1="72000" y1="45625" x2="64375" y2="43500"/>
                        <a14:foregroundMark x1="64375" y1="43500" x2="61750" y2="33375"/>
                        <a14:foregroundMark x1="61750" y1="33375" x2="72625" y2="31250"/>
                        <a14:foregroundMark x1="72625" y1="31250" x2="67750" y2="44000"/>
                        <a14:foregroundMark x1="67750" y1="44000" x2="73125" y2="38125"/>
                        <a14:foregroundMark x1="73125" y1="38125" x2="81750" y2="37125"/>
                        <a14:foregroundMark x1="81750" y1="37125" x2="77625" y2="50250"/>
                        <a14:foregroundMark x1="77625" y1="50250" x2="81750" y2="52375"/>
                        <a14:foregroundMark x1="68875" y1="31750" x2="67125" y2="43250"/>
                        <a14:foregroundMark x1="67125" y1="43250" x2="69125" y2="34625"/>
                        <a14:foregroundMark x1="78750" y1="32500" x2="75250" y2="44500"/>
                        <a14:foregroundMark x1="75250" y1="44500" x2="79875" y2="36750"/>
                        <a14:foregroundMark x1="79875" y1="36750" x2="76875" y2="36375"/>
                        <a14:foregroundMark x1="78750" y1="46625" x2="80125" y2="55500"/>
                        <a14:foregroundMark x1="80125" y1="55500" x2="80750" y2="46125"/>
                        <a14:foregroundMark x1="80750" y1="46125" x2="77750" y2="45875"/>
                        <a14:foregroundMark x1="90375" y1="44000" x2="88750" y2="56375"/>
                        <a14:foregroundMark x1="45750" y1="10250" x2="57875" y2="11500"/>
                        <a14:foregroundMark x1="54125" y1="8875" x2="53500" y2="9125"/>
                        <a14:foregroundMark x1="49500" y1="90500" x2="54125" y2="89500"/>
                        <a14:foregroundMark x1="9625" y1="49625" x2="11000" y2="47125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3256" t="7288" r="7881" b="3666"/>
          <a:stretch>
            <a:fillRect/>
          </a:stretch>
        </p:blipFill>
        <p:spPr bwMode="auto">
          <a:xfrm>
            <a:off x="11238614" y="5890437"/>
            <a:ext cx="733648" cy="7351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CaixaDeTexto 4">
            <a:extLst>
              <a:ext uri="{FF2B5EF4-FFF2-40B4-BE49-F238E27FC236}">
                <a16:creationId xmlns:a16="http://schemas.microsoft.com/office/drawing/2014/main" id="{0960C1C5-F019-74CB-156E-3AD9169462F2}"/>
              </a:ext>
            </a:extLst>
          </p:cNvPr>
          <p:cNvSpPr txBox="1"/>
          <p:nvPr/>
        </p:nvSpPr>
        <p:spPr>
          <a:xfrm>
            <a:off x="670737" y="1850916"/>
            <a:ext cx="6437128" cy="193899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sz="2400" dirty="0">
                <a:solidFill>
                  <a:schemeClr val="bg1"/>
                </a:solidFill>
                <a:latin typeface="Candara" panose="020E0502030303020204" pitchFamily="34" charset="0"/>
              </a:rPr>
              <a:t>🥸 Acessórios de alto valor</a:t>
            </a:r>
          </a:p>
          <a:p>
            <a:r>
              <a:rPr lang="pt-BR" sz="2400" dirty="0">
                <a:solidFill>
                  <a:schemeClr val="bg1"/>
                </a:solidFill>
                <a:latin typeface="Candara" panose="020E0502030303020204" pitchFamily="34" charset="0"/>
              </a:rPr>
              <a:t> 🎯Notebook Lenovo </a:t>
            </a:r>
          </a:p>
          <a:p>
            <a:r>
              <a:rPr lang="pt-BR" sz="2400" dirty="0">
                <a:solidFill>
                  <a:schemeClr val="bg1"/>
                </a:solidFill>
                <a:latin typeface="Candara" panose="020E0502030303020204" pitchFamily="34" charset="0"/>
              </a:rPr>
              <a:t>🎯 Projetor da Epson </a:t>
            </a:r>
          </a:p>
          <a:p>
            <a:r>
              <a:rPr lang="pt-BR" sz="2400" dirty="0">
                <a:solidFill>
                  <a:schemeClr val="bg1"/>
                </a:solidFill>
                <a:latin typeface="Candara" panose="020E0502030303020204" pitchFamily="34" charset="0"/>
              </a:rPr>
              <a:t>🎯 A fechadura eletrônica Elsys</a:t>
            </a:r>
          </a:p>
          <a:p>
            <a:r>
              <a:rPr lang="pt-BR" sz="2400" dirty="0">
                <a:solidFill>
                  <a:schemeClr val="bg1"/>
                </a:solidFill>
                <a:latin typeface="Candara" panose="020E0502030303020204" pitchFamily="34" charset="0"/>
              </a:rPr>
              <a:t>🎯 Aspirador WAP</a:t>
            </a:r>
          </a:p>
        </p:txBody>
      </p:sp>
    </p:spTree>
    <p:extLst>
      <p:ext uri="{BB962C8B-B14F-4D97-AF65-F5344CB8AC3E}">
        <p14:creationId xmlns:p14="http://schemas.microsoft.com/office/powerpoint/2010/main" val="4138305243"/>
      </p:ext>
    </p:extLst>
  </p:cSld>
  <p:clrMapOvr>
    <a:masterClrMapping/>
  </p:clrMapOvr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A3454A7B-1816-AFE4-52E3-DC5DDCDC6AC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m 2" descr="Interface gráfica do usuário&#10;&#10;O conteúdo gerado por IA pode estar incorreto.">
            <a:extLst>
              <a:ext uri="{FF2B5EF4-FFF2-40B4-BE49-F238E27FC236}">
                <a16:creationId xmlns:a16="http://schemas.microsoft.com/office/drawing/2014/main" id="{A2CDE1CC-3D44-4CD5-41BC-89B411474F8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6447" y="248306"/>
            <a:ext cx="1371600" cy="561358"/>
          </a:xfrm>
          <a:prstGeom prst="rect">
            <a:avLst/>
          </a:prstGeom>
        </p:spPr>
      </p:pic>
      <p:pic>
        <p:nvPicPr>
          <p:cNvPr id="1026" name="Picture 2" descr="logo claro PNG &amp; clipart images | Citypng">
            <a:extLst>
              <a:ext uri="{FF2B5EF4-FFF2-40B4-BE49-F238E27FC236}">
                <a16:creationId xmlns:a16="http://schemas.microsoft.com/office/drawing/2014/main" id="{24AF9DA2-D8AA-BD0B-4F04-A0CB6D1D0C6A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ackgroundRemoval t="8875" b="90500" l="9625" r="90375">
                        <a14:foregroundMark x1="35125" y1="42750" x2="35125" y2="42750"/>
                        <a14:foregroundMark x1="35250" y1="45125" x2="33750" y2="54125"/>
                        <a14:foregroundMark x1="33750" y1="54125" x2="41375" y2="48750"/>
                        <a14:foregroundMark x1="41375" y1="48750" x2="36875" y2="40375"/>
                        <a14:foregroundMark x1="36875" y1="40375" x2="31375" y2="43625"/>
                        <a14:foregroundMark x1="22000" y1="41875" x2="12375" y2="50500"/>
                        <a14:foregroundMark x1="12375" y1="50500" x2="25625" y2="62375"/>
                        <a14:foregroundMark x1="25625" y1="62375" x2="52750" y2="64125"/>
                        <a14:foregroundMark x1="52750" y1="64125" x2="73500" y2="62500"/>
                        <a14:foregroundMark x1="73500" y1="62500" x2="87375" y2="56375"/>
                        <a14:foregroundMark x1="87375" y1="56375" x2="87125" y2="45625"/>
                        <a14:foregroundMark x1="87125" y1="45625" x2="84625" y2="37625"/>
                        <a14:foregroundMark x1="84625" y1="37625" x2="76500" y2="32125"/>
                        <a14:foregroundMark x1="76500" y1="32125" x2="57500" y2="27250"/>
                        <a14:foregroundMark x1="57500" y1="27250" x2="20250" y2="28750"/>
                        <a14:foregroundMark x1="20250" y1="28750" x2="15750" y2="38375"/>
                        <a14:foregroundMark x1="15750" y1="38375" x2="12250" y2="41125"/>
                        <a14:foregroundMark x1="28375" y1="36125" x2="17625" y2="48125"/>
                        <a14:foregroundMark x1="17625" y1="48125" x2="23875" y2="57625"/>
                        <a14:foregroundMark x1="23875" y1="57625" x2="34500" y2="44000"/>
                        <a14:foregroundMark x1="34500" y1="44000" x2="21250" y2="39375"/>
                        <a14:foregroundMark x1="21250" y1="39375" x2="19250" y2="41250"/>
                        <a14:foregroundMark x1="26250" y1="40250" x2="27375" y2="52750"/>
                        <a14:foregroundMark x1="27375" y1="52750" x2="28875" y2="40125"/>
                        <a14:foregroundMark x1="28875" y1="40125" x2="18750" y2="45500"/>
                        <a14:foregroundMark x1="18750" y1="45500" x2="20750" y2="48625"/>
                        <a14:foregroundMark x1="26875" y1="40625" x2="27375" y2="58250"/>
                        <a14:foregroundMark x1="27375" y1="58250" x2="30625" y2="48375"/>
                        <a14:foregroundMark x1="30625" y1="48375" x2="20375" y2="51125"/>
                        <a14:foregroundMark x1="20375" y1="51125" x2="20375" y2="52375"/>
                        <a14:foregroundMark x1="19125" y1="42500" x2="25500" y2="55125"/>
                        <a14:foregroundMark x1="25500" y1="55125" x2="25125" y2="59500"/>
                        <a14:foregroundMark x1="22250" y1="56750" x2="21750" y2="58125"/>
                        <a14:foregroundMark x1="38500" y1="39875" x2="29750" y2="53250"/>
                        <a14:foregroundMark x1="29750" y1="53250" x2="34875" y2="62125"/>
                        <a14:foregroundMark x1="34875" y1="62125" x2="39750" y2="49375"/>
                        <a14:foregroundMark x1="39750" y1="49375" x2="36125" y2="43000"/>
                        <a14:foregroundMark x1="43375" y1="42375" x2="41000" y2="60750"/>
                        <a14:foregroundMark x1="41000" y1="60750" x2="51625" y2="47750"/>
                        <a14:foregroundMark x1="51625" y1="47750" x2="43375" y2="46875"/>
                        <a14:foregroundMark x1="43375" y1="46875" x2="41375" y2="48000"/>
                        <a14:foregroundMark x1="47125" y1="50750" x2="48375" y2="59000"/>
                        <a14:foregroundMark x1="48375" y1="59000" x2="45125" y2="53500"/>
                        <a14:foregroundMark x1="53625" y1="43250" x2="52125" y2="50125"/>
                        <a14:foregroundMark x1="52125" y1="50125" x2="54125" y2="58375"/>
                        <a14:foregroundMark x1="54125" y1="58375" x2="58125" y2="50500"/>
                        <a14:foregroundMark x1="58125" y1="50500" x2="53250" y2="45125"/>
                        <a14:foregroundMark x1="53250" y1="45125" x2="51500" y2="45375"/>
                        <a14:foregroundMark x1="58625" y1="42000" x2="59750" y2="52125"/>
                        <a14:foregroundMark x1="59750" y1="52125" x2="57750" y2="45000"/>
                        <a14:foregroundMark x1="63000" y1="45375" x2="61000" y2="62375"/>
                        <a14:foregroundMark x1="61000" y1="62375" x2="73375" y2="56375"/>
                        <a14:foregroundMark x1="73375" y1="56375" x2="72000" y2="45625"/>
                        <a14:foregroundMark x1="72000" y1="45625" x2="64375" y2="43500"/>
                        <a14:foregroundMark x1="64375" y1="43500" x2="61750" y2="33375"/>
                        <a14:foregroundMark x1="61750" y1="33375" x2="72625" y2="31250"/>
                        <a14:foregroundMark x1="72625" y1="31250" x2="67750" y2="44000"/>
                        <a14:foregroundMark x1="67750" y1="44000" x2="73125" y2="38125"/>
                        <a14:foregroundMark x1="73125" y1="38125" x2="81750" y2="37125"/>
                        <a14:foregroundMark x1="81750" y1="37125" x2="77625" y2="50250"/>
                        <a14:foregroundMark x1="77625" y1="50250" x2="81750" y2="52375"/>
                        <a14:foregroundMark x1="68875" y1="31750" x2="67125" y2="43250"/>
                        <a14:foregroundMark x1="67125" y1="43250" x2="69125" y2="34625"/>
                        <a14:foregroundMark x1="78750" y1="32500" x2="75250" y2="44500"/>
                        <a14:foregroundMark x1="75250" y1="44500" x2="79875" y2="36750"/>
                        <a14:foregroundMark x1="79875" y1="36750" x2="76875" y2="36375"/>
                        <a14:foregroundMark x1="78750" y1="46625" x2="80125" y2="55500"/>
                        <a14:foregroundMark x1="80125" y1="55500" x2="80750" y2="46125"/>
                        <a14:foregroundMark x1="80750" y1="46125" x2="77750" y2="45875"/>
                        <a14:foregroundMark x1="90375" y1="44000" x2="88750" y2="56375"/>
                        <a14:foregroundMark x1="45750" y1="10250" x2="57875" y2="11500"/>
                        <a14:foregroundMark x1="54125" y1="8875" x2="53500" y2="9125"/>
                        <a14:foregroundMark x1="49500" y1="90500" x2="54125" y2="89500"/>
                        <a14:foregroundMark x1="9625" y1="49625" x2="11000" y2="47125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3256" t="7288" r="7881" b="3666"/>
          <a:stretch>
            <a:fillRect/>
          </a:stretch>
        </p:blipFill>
        <p:spPr bwMode="auto">
          <a:xfrm>
            <a:off x="11238614" y="5890437"/>
            <a:ext cx="733648" cy="7351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2" name="Agrupar 1">
            <a:extLst>
              <a:ext uri="{FF2B5EF4-FFF2-40B4-BE49-F238E27FC236}">
                <a16:creationId xmlns:a16="http://schemas.microsoft.com/office/drawing/2014/main" id="{95DEC9B0-8168-4EFE-9F0C-34756160FE43}"/>
              </a:ext>
            </a:extLst>
          </p:cNvPr>
          <p:cNvGrpSpPr/>
          <p:nvPr/>
        </p:nvGrpSpPr>
        <p:grpSpPr>
          <a:xfrm>
            <a:off x="8280400" y="442080"/>
            <a:ext cx="3467100" cy="735167"/>
            <a:chOff x="-10954339" y="1136650"/>
            <a:chExt cx="22701839" cy="4584700"/>
          </a:xfrm>
        </p:grpSpPr>
        <p:sp>
          <p:nvSpPr>
            <p:cNvPr id="6" name="CaixaDeTexto 5">
              <a:extLst>
                <a:ext uri="{FF2B5EF4-FFF2-40B4-BE49-F238E27FC236}">
                  <a16:creationId xmlns:a16="http://schemas.microsoft.com/office/drawing/2014/main" id="{37B0C668-DD7A-BBBC-5E12-8D41970908ED}"/>
                </a:ext>
              </a:extLst>
            </p:cNvPr>
            <p:cNvSpPr txBox="1"/>
            <p:nvPr/>
          </p:nvSpPr>
          <p:spPr>
            <a:xfrm>
              <a:off x="-10954339" y="2277376"/>
              <a:ext cx="16605841" cy="249519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pt-BR" sz="2000" b="1" i="0" u="none" strike="noStrike" baseline="0" dirty="0">
                  <a:solidFill>
                    <a:schemeClr val="bg2"/>
                  </a:solidFill>
                  <a:latin typeface="Candara" panose="020E0502030303020204" pitchFamily="34" charset="0"/>
                </a:rPr>
                <a:t>Projetor Epson EF-21</a:t>
              </a:r>
              <a:endParaRPr lang="pt-BR" sz="2000" b="1" dirty="0">
                <a:solidFill>
                  <a:schemeClr val="bg2"/>
                </a:solidFill>
                <a:latin typeface="Candara" panose="020E0502030303020204" pitchFamily="34" charset="0"/>
              </a:endParaRPr>
            </a:p>
          </p:txBody>
        </p:sp>
        <p:pic>
          <p:nvPicPr>
            <p:cNvPr id="2054" name="Picture 6" descr="Projetor Epson EpiqVision® Laser Smart EF21 com Conexão USB e HDMI Branco  Diamante - V11HB35020 | Fastshop">
              <a:extLst>
                <a:ext uri="{FF2B5EF4-FFF2-40B4-BE49-F238E27FC236}">
                  <a16:creationId xmlns:a16="http://schemas.microsoft.com/office/drawing/2014/main" id="{53A6DC3F-2F29-DBFC-F038-9267B7989318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828" t="15363" r="6283" b="17787"/>
            <a:stretch>
              <a:fillRect/>
            </a:stretch>
          </p:blipFill>
          <p:spPr bwMode="auto">
            <a:xfrm>
              <a:off x="5651500" y="1136650"/>
              <a:ext cx="6096000" cy="4584700"/>
            </a:xfrm>
            <a:prstGeom prst="round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7" name="Imagem 6" descr="Foto preta e branca de uma caixa de papelão&#10;&#10;O conteúdo gerado por IA pode estar incorreto.">
            <a:extLst>
              <a:ext uri="{FF2B5EF4-FFF2-40B4-BE49-F238E27FC236}">
                <a16:creationId xmlns:a16="http://schemas.microsoft.com/office/drawing/2014/main" id="{37C16ACE-F0E8-6157-B409-54092B45CD81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80979" y="1584960"/>
            <a:ext cx="3110937" cy="2626045"/>
          </a:xfrm>
          <a:prstGeom prst="rect">
            <a:avLst/>
          </a:prstGeom>
        </p:spPr>
      </p:pic>
      <p:pic>
        <p:nvPicPr>
          <p:cNvPr id="9" name="Imagem 8" descr="Interface gráfica do usuário, Site&#10;&#10;O conteúdo gerado por IA pode estar incorreto.">
            <a:extLst>
              <a:ext uri="{FF2B5EF4-FFF2-40B4-BE49-F238E27FC236}">
                <a16:creationId xmlns:a16="http://schemas.microsoft.com/office/drawing/2014/main" id="{A2410B30-2573-4B2C-6938-F0C6F51BFE8B}"/>
              </a:ext>
            </a:extLst>
          </p:cNvPr>
          <p:cNvPicPr>
            <a:picLocks noChangeAspect="1"/>
          </p:cNvPicPr>
          <p:nvPr/>
        </p:nvPicPr>
        <p:blipFill>
          <a:blip r:embed="rId8"/>
          <a:srcRect t="979"/>
          <a:stretch>
            <a:fillRect/>
          </a:stretch>
        </p:blipFill>
        <p:spPr>
          <a:xfrm>
            <a:off x="4633708" y="1346550"/>
            <a:ext cx="2924583" cy="2928970"/>
          </a:xfrm>
          <a:prstGeom prst="rect">
            <a:avLst/>
          </a:prstGeom>
        </p:spPr>
      </p:pic>
      <p:pic>
        <p:nvPicPr>
          <p:cNvPr id="11" name="Imagem 10" descr="Tela de um aparelho eletrônico&#10;&#10;O conteúdo gerado por IA pode estar incorreto.">
            <a:extLst>
              <a:ext uri="{FF2B5EF4-FFF2-40B4-BE49-F238E27FC236}">
                <a16:creationId xmlns:a16="http://schemas.microsoft.com/office/drawing/2014/main" id="{89731D68-10F1-9382-7F93-E37457692456}"/>
              </a:ext>
            </a:extLst>
          </p:cNvPr>
          <p:cNvPicPr>
            <a:picLocks noChangeAspect="1"/>
          </p:cNvPicPr>
          <p:nvPr/>
        </p:nvPicPr>
        <p:blipFill>
          <a:blip r:embed="rId9"/>
          <a:srcRect t="2550" b="4607"/>
          <a:stretch>
            <a:fillRect/>
          </a:stretch>
        </p:blipFill>
        <p:spPr>
          <a:xfrm flipH="1">
            <a:off x="8503338" y="2189165"/>
            <a:ext cx="2393670" cy="2021840"/>
          </a:xfrm>
          <a:prstGeom prst="roundRect">
            <a:avLst/>
          </a:prstGeom>
        </p:spPr>
      </p:pic>
    </p:spTree>
    <p:extLst>
      <p:ext uri="{BB962C8B-B14F-4D97-AF65-F5344CB8AC3E}">
        <p14:creationId xmlns:p14="http://schemas.microsoft.com/office/powerpoint/2010/main" val="644813763"/>
      </p:ext>
    </p:extLst>
  </p:cSld>
  <p:clrMapOvr>
    <a:masterClrMapping/>
  </p:clrMapOvr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E93A69EE-5284-5A2B-F885-C9EE67080FE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m 2" descr="Interface gráfica do usuário&#10;&#10;O conteúdo gerado por IA pode estar incorreto.">
            <a:extLst>
              <a:ext uri="{FF2B5EF4-FFF2-40B4-BE49-F238E27FC236}">
                <a16:creationId xmlns:a16="http://schemas.microsoft.com/office/drawing/2014/main" id="{ACCDD32A-1ADE-7E98-FB48-97EC941B384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6447" y="248306"/>
            <a:ext cx="1371600" cy="561358"/>
          </a:xfrm>
          <a:prstGeom prst="rect">
            <a:avLst/>
          </a:prstGeom>
        </p:spPr>
      </p:pic>
      <p:pic>
        <p:nvPicPr>
          <p:cNvPr id="1026" name="Picture 2" descr="logo claro PNG &amp; clipart images | Citypng">
            <a:extLst>
              <a:ext uri="{FF2B5EF4-FFF2-40B4-BE49-F238E27FC236}">
                <a16:creationId xmlns:a16="http://schemas.microsoft.com/office/drawing/2014/main" id="{F10EC47B-6D0A-F9C4-31D5-3043D7E6CF3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ackgroundRemoval t="8875" b="90500" l="9625" r="90375">
                        <a14:foregroundMark x1="35125" y1="42750" x2="35125" y2="42750"/>
                        <a14:foregroundMark x1="35250" y1="45125" x2="33750" y2="54125"/>
                        <a14:foregroundMark x1="33750" y1="54125" x2="41375" y2="48750"/>
                        <a14:foregroundMark x1="41375" y1="48750" x2="36875" y2="40375"/>
                        <a14:foregroundMark x1="36875" y1="40375" x2="31375" y2="43625"/>
                        <a14:foregroundMark x1="22000" y1="41875" x2="12375" y2="50500"/>
                        <a14:foregroundMark x1="12375" y1="50500" x2="25625" y2="62375"/>
                        <a14:foregroundMark x1="25625" y1="62375" x2="52750" y2="64125"/>
                        <a14:foregroundMark x1="52750" y1="64125" x2="73500" y2="62500"/>
                        <a14:foregroundMark x1="73500" y1="62500" x2="87375" y2="56375"/>
                        <a14:foregroundMark x1="87375" y1="56375" x2="87125" y2="45625"/>
                        <a14:foregroundMark x1="87125" y1="45625" x2="84625" y2="37625"/>
                        <a14:foregroundMark x1="84625" y1="37625" x2="76500" y2="32125"/>
                        <a14:foregroundMark x1="76500" y1="32125" x2="57500" y2="27250"/>
                        <a14:foregroundMark x1="57500" y1="27250" x2="20250" y2="28750"/>
                        <a14:foregroundMark x1="20250" y1="28750" x2="15750" y2="38375"/>
                        <a14:foregroundMark x1="15750" y1="38375" x2="12250" y2="41125"/>
                        <a14:foregroundMark x1="28375" y1="36125" x2="17625" y2="48125"/>
                        <a14:foregroundMark x1="17625" y1="48125" x2="23875" y2="57625"/>
                        <a14:foregroundMark x1="23875" y1="57625" x2="34500" y2="44000"/>
                        <a14:foregroundMark x1="34500" y1="44000" x2="21250" y2="39375"/>
                        <a14:foregroundMark x1="21250" y1="39375" x2="19250" y2="41250"/>
                        <a14:foregroundMark x1="26250" y1="40250" x2="27375" y2="52750"/>
                        <a14:foregroundMark x1="27375" y1="52750" x2="28875" y2="40125"/>
                        <a14:foregroundMark x1="28875" y1="40125" x2="18750" y2="45500"/>
                        <a14:foregroundMark x1="18750" y1="45500" x2="20750" y2="48625"/>
                        <a14:foregroundMark x1="26875" y1="40625" x2="27375" y2="58250"/>
                        <a14:foregroundMark x1="27375" y1="58250" x2="30625" y2="48375"/>
                        <a14:foregroundMark x1="30625" y1="48375" x2="20375" y2="51125"/>
                        <a14:foregroundMark x1="20375" y1="51125" x2="20375" y2="52375"/>
                        <a14:foregroundMark x1="19125" y1="42500" x2="25500" y2="55125"/>
                        <a14:foregroundMark x1="25500" y1="55125" x2="25125" y2="59500"/>
                        <a14:foregroundMark x1="22250" y1="56750" x2="21750" y2="58125"/>
                        <a14:foregroundMark x1="38500" y1="39875" x2="29750" y2="53250"/>
                        <a14:foregroundMark x1="29750" y1="53250" x2="34875" y2="62125"/>
                        <a14:foregroundMark x1="34875" y1="62125" x2="39750" y2="49375"/>
                        <a14:foregroundMark x1="39750" y1="49375" x2="36125" y2="43000"/>
                        <a14:foregroundMark x1="43375" y1="42375" x2="41000" y2="60750"/>
                        <a14:foregroundMark x1="41000" y1="60750" x2="51625" y2="47750"/>
                        <a14:foregroundMark x1="51625" y1="47750" x2="43375" y2="46875"/>
                        <a14:foregroundMark x1="43375" y1="46875" x2="41375" y2="48000"/>
                        <a14:foregroundMark x1="47125" y1="50750" x2="48375" y2="59000"/>
                        <a14:foregroundMark x1="48375" y1="59000" x2="45125" y2="53500"/>
                        <a14:foregroundMark x1="53625" y1="43250" x2="52125" y2="50125"/>
                        <a14:foregroundMark x1="52125" y1="50125" x2="54125" y2="58375"/>
                        <a14:foregroundMark x1="54125" y1="58375" x2="58125" y2="50500"/>
                        <a14:foregroundMark x1="58125" y1="50500" x2="53250" y2="45125"/>
                        <a14:foregroundMark x1="53250" y1="45125" x2="51500" y2="45375"/>
                        <a14:foregroundMark x1="58625" y1="42000" x2="59750" y2="52125"/>
                        <a14:foregroundMark x1="59750" y1="52125" x2="57750" y2="45000"/>
                        <a14:foregroundMark x1="63000" y1="45375" x2="61000" y2="62375"/>
                        <a14:foregroundMark x1="61000" y1="62375" x2="73375" y2="56375"/>
                        <a14:foregroundMark x1="73375" y1="56375" x2="72000" y2="45625"/>
                        <a14:foregroundMark x1="72000" y1="45625" x2="64375" y2="43500"/>
                        <a14:foregroundMark x1="64375" y1="43500" x2="61750" y2="33375"/>
                        <a14:foregroundMark x1="61750" y1="33375" x2="72625" y2="31250"/>
                        <a14:foregroundMark x1="72625" y1="31250" x2="67750" y2="44000"/>
                        <a14:foregroundMark x1="67750" y1="44000" x2="73125" y2="38125"/>
                        <a14:foregroundMark x1="73125" y1="38125" x2="81750" y2="37125"/>
                        <a14:foregroundMark x1="81750" y1="37125" x2="77625" y2="50250"/>
                        <a14:foregroundMark x1="77625" y1="50250" x2="81750" y2="52375"/>
                        <a14:foregroundMark x1="68875" y1="31750" x2="67125" y2="43250"/>
                        <a14:foregroundMark x1="67125" y1="43250" x2="69125" y2="34625"/>
                        <a14:foregroundMark x1="78750" y1="32500" x2="75250" y2="44500"/>
                        <a14:foregroundMark x1="75250" y1="44500" x2="79875" y2="36750"/>
                        <a14:foregroundMark x1="79875" y1="36750" x2="76875" y2="36375"/>
                        <a14:foregroundMark x1="78750" y1="46625" x2="80125" y2="55500"/>
                        <a14:foregroundMark x1="80125" y1="55500" x2="80750" y2="46125"/>
                        <a14:foregroundMark x1="80750" y1="46125" x2="77750" y2="45875"/>
                        <a14:foregroundMark x1="90375" y1="44000" x2="88750" y2="56375"/>
                        <a14:foregroundMark x1="45750" y1="10250" x2="57875" y2="11500"/>
                        <a14:foregroundMark x1="54125" y1="8875" x2="53500" y2="9125"/>
                        <a14:foregroundMark x1="49500" y1="90500" x2="54125" y2="89500"/>
                        <a14:foregroundMark x1="9625" y1="49625" x2="11000" y2="47125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3256" t="7288" r="7881" b="3666"/>
          <a:stretch>
            <a:fillRect/>
          </a:stretch>
        </p:blipFill>
        <p:spPr bwMode="auto">
          <a:xfrm>
            <a:off x="11238614" y="5890437"/>
            <a:ext cx="733648" cy="7351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Imagem 1" descr="Imagem em preto e branco de computador">
            <a:extLst>
              <a:ext uri="{FF2B5EF4-FFF2-40B4-BE49-F238E27FC236}">
                <a16:creationId xmlns:a16="http://schemas.microsoft.com/office/drawing/2014/main" id="{4017AA57-47B2-E901-1086-04104C18C7D9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0109" r="46517"/>
          <a:stretch/>
        </p:blipFill>
        <p:spPr>
          <a:xfrm>
            <a:off x="10468262" y="21956"/>
            <a:ext cx="1631588" cy="1370909"/>
          </a:xfrm>
          <a:prstGeom prst="rect">
            <a:avLst/>
          </a:prstGeom>
          <a:ln>
            <a:noFill/>
          </a:ln>
          <a:effectLst>
            <a:outerShdw blurRad="50800" dist="88900" dir="8100000" algn="tr" rotWithShape="0">
              <a:prstClr val="black">
                <a:alpha val="25000"/>
              </a:prstClr>
            </a:outerShdw>
          </a:effectLst>
        </p:spPr>
      </p:pic>
      <p:pic>
        <p:nvPicPr>
          <p:cNvPr id="4" name="Imagem 3" descr="Logotipo&#10;&#10;O conteúdo gerado por IA pode estar incorreto.">
            <a:extLst>
              <a:ext uri="{FF2B5EF4-FFF2-40B4-BE49-F238E27FC236}">
                <a16:creationId xmlns:a16="http://schemas.microsoft.com/office/drawing/2014/main" id="{C08D769E-F812-ADA8-8ACE-64665276CB94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74148" y="359203"/>
            <a:ext cx="2339162" cy="696413"/>
          </a:xfrm>
          <a:prstGeom prst="rect">
            <a:avLst/>
          </a:prstGeom>
        </p:spPr>
      </p:pic>
      <p:grpSp>
        <p:nvGrpSpPr>
          <p:cNvPr id="8" name="Agrupar 7">
            <a:extLst>
              <a:ext uri="{FF2B5EF4-FFF2-40B4-BE49-F238E27FC236}">
                <a16:creationId xmlns:a16="http://schemas.microsoft.com/office/drawing/2014/main" id="{E647BA2E-7E15-6E68-A657-238A008652E2}"/>
              </a:ext>
            </a:extLst>
          </p:cNvPr>
          <p:cNvGrpSpPr/>
          <p:nvPr/>
        </p:nvGrpSpPr>
        <p:grpSpPr>
          <a:xfrm>
            <a:off x="507098" y="1211789"/>
            <a:ext cx="2281897" cy="571086"/>
            <a:chOff x="2677307" y="1704688"/>
            <a:chExt cx="2281897" cy="571086"/>
          </a:xfrm>
        </p:grpSpPr>
        <p:sp>
          <p:nvSpPr>
            <p:cNvPr id="11" name="Retângulo de cantos arredondados 30">
              <a:extLst>
                <a:ext uri="{FF2B5EF4-FFF2-40B4-BE49-F238E27FC236}">
                  <a16:creationId xmlns:a16="http://schemas.microsoft.com/office/drawing/2014/main" id="{7710147A-6B50-9642-F02A-CB6FF008CA0F}"/>
                </a:ext>
              </a:extLst>
            </p:cNvPr>
            <p:cNvSpPr/>
            <p:nvPr/>
          </p:nvSpPr>
          <p:spPr>
            <a:xfrm>
              <a:off x="2677307" y="1704688"/>
              <a:ext cx="2259961" cy="571086"/>
            </a:xfrm>
            <a:prstGeom prst="roundRect">
              <a:avLst>
                <a:gd name="adj" fmla="val 50000"/>
              </a:avLst>
            </a:prstGeom>
            <a:solidFill>
              <a:srgbClr val="B8934B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endParaRPr lang="pt-BR" sz="1600" dirty="0">
                <a:latin typeface="Candara" panose="020E0502030303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" name="CaixaDeTexto 11">
              <a:extLst>
                <a:ext uri="{FF2B5EF4-FFF2-40B4-BE49-F238E27FC236}">
                  <a16:creationId xmlns:a16="http://schemas.microsoft.com/office/drawing/2014/main" id="{8EC47D18-0DF0-47F8-B2A5-4BD4537ED297}"/>
                </a:ext>
              </a:extLst>
            </p:cNvPr>
            <p:cNvSpPr txBox="1"/>
            <p:nvPr/>
          </p:nvSpPr>
          <p:spPr>
            <a:xfrm>
              <a:off x="2677307" y="1772937"/>
              <a:ext cx="2281897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pt-BR" sz="2000" b="1" dirty="0">
                  <a:solidFill>
                    <a:schemeClr val="bg1"/>
                  </a:solidFill>
                  <a:latin typeface="Candara" panose="020E0502030303020204" pitchFamily="34" charset="0"/>
                </a:rPr>
                <a:t>Características</a:t>
              </a:r>
            </a:p>
          </p:txBody>
        </p:sp>
      </p:grpSp>
      <p:sp>
        <p:nvSpPr>
          <p:cNvPr id="5" name="CaixaDeTexto 4">
            <a:extLst>
              <a:ext uri="{FF2B5EF4-FFF2-40B4-BE49-F238E27FC236}">
                <a16:creationId xmlns:a16="http://schemas.microsoft.com/office/drawing/2014/main" id="{FCB3B742-2785-272D-B897-97A06B7E2B83}"/>
              </a:ext>
            </a:extLst>
          </p:cNvPr>
          <p:cNvSpPr txBox="1"/>
          <p:nvPr/>
        </p:nvSpPr>
        <p:spPr>
          <a:xfrm>
            <a:off x="638839" y="2510134"/>
            <a:ext cx="10993179" cy="193899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indent="-342900">
              <a:buFont typeface="Wingdings" panose="05000000000000000000" pitchFamily="2" charset="2"/>
              <a:buChar char="§"/>
            </a:pPr>
            <a:r>
              <a:rPr lang="pt-BR" sz="2400" dirty="0">
                <a:solidFill>
                  <a:schemeClr val="bg1"/>
                </a:solidFill>
                <a:latin typeface="Candara" panose="020E0502030303020204" pitchFamily="34" charset="0"/>
              </a:rPr>
              <a:t>Tela 15,3 Pol – 1920 x1200 – Tipo IPS  - 60Hz – 300 Nits</a:t>
            </a:r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pt-BR" sz="2400" dirty="0">
                <a:solidFill>
                  <a:schemeClr val="bg1"/>
                </a:solidFill>
                <a:latin typeface="Candara" panose="020E0502030303020204" pitchFamily="34" charset="0"/>
              </a:rPr>
              <a:t>Conexão USB – C com saída de Video </a:t>
            </a:r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pt-BR" sz="2400" dirty="0">
                <a:solidFill>
                  <a:schemeClr val="bg1"/>
                </a:solidFill>
                <a:latin typeface="Candara" panose="020E0502030303020204" pitchFamily="34" charset="0"/>
              </a:rPr>
              <a:t>Leitor de Cartões SD </a:t>
            </a:r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pt-BR" sz="2400" dirty="0">
                <a:solidFill>
                  <a:schemeClr val="bg1"/>
                </a:solidFill>
                <a:latin typeface="Candara" panose="020E0502030303020204" pitchFamily="34" charset="0"/>
              </a:rPr>
              <a:t>2 slots pra SSD – tampa fácil de abrir </a:t>
            </a:r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pt-BR" sz="2400" dirty="0">
                <a:solidFill>
                  <a:schemeClr val="bg1"/>
                </a:solidFill>
                <a:latin typeface="Candara" panose="020E0502030303020204" pitchFamily="34" charset="0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85700171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CB120DAF-DC95-F94B-8E65-A9E3BF89C28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m 2" descr="Interface gráfica do usuário&#10;&#10;O conteúdo gerado por IA pode estar incorreto.">
            <a:extLst>
              <a:ext uri="{FF2B5EF4-FFF2-40B4-BE49-F238E27FC236}">
                <a16:creationId xmlns:a16="http://schemas.microsoft.com/office/drawing/2014/main" id="{DCE5336D-5EC1-0235-1B11-623FBE20D8C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6447" y="248306"/>
            <a:ext cx="1371600" cy="561358"/>
          </a:xfrm>
          <a:prstGeom prst="rect">
            <a:avLst/>
          </a:prstGeom>
        </p:spPr>
      </p:pic>
      <p:pic>
        <p:nvPicPr>
          <p:cNvPr id="1026" name="Picture 2" descr="logo claro PNG &amp; clipart images | Citypng">
            <a:extLst>
              <a:ext uri="{FF2B5EF4-FFF2-40B4-BE49-F238E27FC236}">
                <a16:creationId xmlns:a16="http://schemas.microsoft.com/office/drawing/2014/main" id="{29B4154E-6C1B-F7B1-6E6F-61650B4210F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ackgroundRemoval t="8875" b="90500" l="9625" r="90375">
                        <a14:foregroundMark x1="35125" y1="42750" x2="35125" y2="42750"/>
                        <a14:foregroundMark x1="35250" y1="45125" x2="33750" y2="54125"/>
                        <a14:foregroundMark x1="33750" y1="54125" x2="41375" y2="48750"/>
                        <a14:foregroundMark x1="41375" y1="48750" x2="36875" y2="40375"/>
                        <a14:foregroundMark x1="36875" y1="40375" x2="31375" y2="43625"/>
                        <a14:foregroundMark x1="22000" y1="41875" x2="12375" y2="50500"/>
                        <a14:foregroundMark x1="12375" y1="50500" x2="25625" y2="62375"/>
                        <a14:foregroundMark x1="25625" y1="62375" x2="52750" y2="64125"/>
                        <a14:foregroundMark x1="52750" y1="64125" x2="73500" y2="62500"/>
                        <a14:foregroundMark x1="73500" y1="62500" x2="87375" y2="56375"/>
                        <a14:foregroundMark x1="87375" y1="56375" x2="87125" y2="45625"/>
                        <a14:foregroundMark x1="87125" y1="45625" x2="84625" y2="37625"/>
                        <a14:foregroundMark x1="84625" y1="37625" x2="76500" y2="32125"/>
                        <a14:foregroundMark x1="76500" y1="32125" x2="57500" y2="27250"/>
                        <a14:foregroundMark x1="57500" y1="27250" x2="20250" y2="28750"/>
                        <a14:foregroundMark x1="20250" y1="28750" x2="15750" y2="38375"/>
                        <a14:foregroundMark x1="15750" y1="38375" x2="12250" y2="41125"/>
                        <a14:foregroundMark x1="28375" y1="36125" x2="17625" y2="48125"/>
                        <a14:foregroundMark x1="17625" y1="48125" x2="23875" y2="57625"/>
                        <a14:foregroundMark x1="23875" y1="57625" x2="34500" y2="44000"/>
                        <a14:foregroundMark x1="34500" y1="44000" x2="21250" y2="39375"/>
                        <a14:foregroundMark x1="21250" y1="39375" x2="19250" y2="41250"/>
                        <a14:foregroundMark x1="26250" y1="40250" x2="27375" y2="52750"/>
                        <a14:foregroundMark x1="27375" y1="52750" x2="28875" y2="40125"/>
                        <a14:foregroundMark x1="28875" y1="40125" x2="18750" y2="45500"/>
                        <a14:foregroundMark x1="18750" y1="45500" x2="20750" y2="48625"/>
                        <a14:foregroundMark x1="26875" y1="40625" x2="27375" y2="58250"/>
                        <a14:foregroundMark x1="27375" y1="58250" x2="30625" y2="48375"/>
                        <a14:foregroundMark x1="30625" y1="48375" x2="20375" y2="51125"/>
                        <a14:foregroundMark x1="20375" y1="51125" x2="20375" y2="52375"/>
                        <a14:foregroundMark x1="19125" y1="42500" x2="25500" y2="55125"/>
                        <a14:foregroundMark x1="25500" y1="55125" x2="25125" y2="59500"/>
                        <a14:foregroundMark x1="22250" y1="56750" x2="21750" y2="58125"/>
                        <a14:foregroundMark x1="38500" y1="39875" x2="29750" y2="53250"/>
                        <a14:foregroundMark x1="29750" y1="53250" x2="34875" y2="62125"/>
                        <a14:foregroundMark x1="34875" y1="62125" x2="39750" y2="49375"/>
                        <a14:foregroundMark x1="39750" y1="49375" x2="36125" y2="43000"/>
                        <a14:foregroundMark x1="43375" y1="42375" x2="41000" y2="60750"/>
                        <a14:foregroundMark x1="41000" y1="60750" x2="51625" y2="47750"/>
                        <a14:foregroundMark x1="51625" y1="47750" x2="43375" y2="46875"/>
                        <a14:foregroundMark x1="43375" y1="46875" x2="41375" y2="48000"/>
                        <a14:foregroundMark x1="47125" y1="50750" x2="48375" y2="59000"/>
                        <a14:foregroundMark x1="48375" y1="59000" x2="45125" y2="53500"/>
                        <a14:foregroundMark x1="53625" y1="43250" x2="52125" y2="50125"/>
                        <a14:foregroundMark x1="52125" y1="50125" x2="54125" y2="58375"/>
                        <a14:foregroundMark x1="54125" y1="58375" x2="58125" y2="50500"/>
                        <a14:foregroundMark x1="58125" y1="50500" x2="53250" y2="45125"/>
                        <a14:foregroundMark x1="53250" y1="45125" x2="51500" y2="45375"/>
                        <a14:foregroundMark x1="58625" y1="42000" x2="59750" y2="52125"/>
                        <a14:foregroundMark x1="59750" y1="52125" x2="57750" y2="45000"/>
                        <a14:foregroundMark x1="63000" y1="45375" x2="61000" y2="62375"/>
                        <a14:foregroundMark x1="61000" y1="62375" x2="73375" y2="56375"/>
                        <a14:foregroundMark x1="73375" y1="56375" x2="72000" y2="45625"/>
                        <a14:foregroundMark x1="72000" y1="45625" x2="64375" y2="43500"/>
                        <a14:foregroundMark x1="64375" y1="43500" x2="61750" y2="33375"/>
                        <a14:foregroundMark x1="61750" y1="33375" x2="72625" y2="31250"/>
                        <a14:foregroundMark x1="72625" y1="31250" x2="67750" y2="44000"/>
                        <a14:foregroundMark x1="67750" y1="44000" x2="73125" y2="38125"/>
                        <a14:foregroundMark x1="73125" y1="38125" x2="81750" y2="37125"/>
                        <a14:foregroundMark x1="81750" y1="37125" x2="77625" y2="50250"/>
                        <a14:foregroundMark x1="77625" y1="50250" x2="81750" y2="52375"/>
                        <a14:foregroundMark x1="68875" y1="31750" x2="67125" y2="43250"/>
                        <a14:foregroundMark x1="67125" y1="43250" x2="69125" y2="34625"/>
                        <a14:foregroundMark x1="78750" y1="32500" x2="75250" y2="44500"/>
                        <a14:foregroundMark x1="75250" y1="44500" x2="79875" y2="36750"/>
                        <a14:foregroundMark x1="79875" y1="36750" x2="76875" y2="36375"/>
                        <a14:foregroundMark x1="78750" y1="46625" x2="80125" y2="55500"/>
                        <a14:foregroundMark x1="80125" y1="55500" x2="80750" y2="46125"/>
                        <a14:foregroundMark x1="80750" y1="46125" x2="77750" y2="45875"/>
                        <a14:foregroundMark x1="90375" y1="44000" x2="88750" y2="56375"/>
                        <a14:foregroundMark x1="45750" y1="10250" x2="57875" y2="11500"/>
                        <a14:foregroundMark x1="54125" y1="8875" x2="53500" y2="9125"/>
                        <a14:foregroundMark x1="49500" y1="90500" x2="54125" y2="89500"/>
                        <a14:foregroundMark x1="9625" y1="49625" x2="11000" y2="47125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3256" t="7288" r="7881" b="3666"/>
          <a:stretch>
            <a:fillRect/>
          </a:stretch>
        </p:blipFill>
        <p:spPr bwMode="auto">
          <a:xfrm>
            <a:off x="11238614" y="5890437"/>
            <a:ext cx="733648" cy="7351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Imagem 1" descr="Imagem em preto e branco de computador">
            <a:extLst>
              <a:ext uri="{FF2B5EF4-FFF2-40B4-BE49-F238E27FC236}">
                <a16:creationId xmlns:a16="http://schemas.microsoft.com/office/drawing/2014/main" id="{55F345AB-48E2-021B-1880-457E06EB05C0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0109" r="46517"/>
          <a:stretch/>
        </p:blipFill>
        <p:spPr>
          <a:xfrm>
            <a:off x="10468262" y="21956"/>
            <a:ext cx="1631588" cy="1370909"/>
          </a:xfrm>
          <a:prstGeom prst="rect">
            <a:avLst/>
          </a:prstGeom>
          <a:ln>
            <a:noFill/>
          </a:ln>
          <a:effectLst>
            <a:outerShdw blurRad="50800" dist="88900" dir="8100000" algn="tr" rotWithShape="0">
              <a:prstClr val="black">
                <a:alpha val="25000"/>
              </a:prstClr>
            </a:outerShdw>
          </a:effectLst>
        </p:spPr>
      </p:pic>
      <p:pic>
        <p:nvPicPr>
          <p:cNvPr id="4" name="Imagem 3" descr="Logotipo&#10;&#10;O conteúdo gerado por IA pode estar incorreto.">
            <a:extLst>
              <a:ext uri="{FF2B5EF4-FFF2-40B4-BE49-F238E27FC236}">
                <a16:creationId xmlns:a16="http://schemas.microsoft.com/office/drawing/2014/main" id="{CB99C1F0-6CE3-DB66-C7D2-C39C796B0025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74148" y="359203"/>
            <a:ext cx="2339162" cy="696413"/>
          </a:xfrm>
          <a:prstGeom prst="rect">
            <a:avLst/>
          </a:prstGeom>
        </p:spPr>
      </p:pic>
      <p:sp>
        <p:nvSpPr>
          <p:cNvPr id="6" name="TextBox 7">
            <a:extLst>
              <a:ext uri="{FF2B5EF4-FFF2-40B4-BE49-F238E27FC236}">
                <a16:creationId xmlns:a16="http://schemas.microsoft.com/office/drawing/2014/main" id="{1F594ABA-6477-56AD-797F-D317AB3E7F54}"/>
              </a:ext>
            </a:extLst>
          </p:cNvPr>
          <p:cNvSpPr txBox="1"/>
          <p:nvPr/>
        </p:nvSpPr>
        <p:spPr>
          <a:xfrm>
            <a:off x="3642161" y="46004"/>
            <a:ext cx="3671197" cy="82977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>
              <a:lnSpc>
                <a:spcPts val="6400"/>
              </a:lnSpc>
            </a:pPr>
            <a:r>
              <a:rPr lang="pt-BR" sz="3600" b="1" dirty="0">
                <a:solidFill>
                  <a:schemeClr val="bg1"/>
                </a:solidFill>
                <a:latin typeface="Candara" panose="020E0502030303020204" pitchFamily="34" charset="0"/>
              </a:rPr>
              <a:t>DEMONSTRAÇÃO</a:t>
            </a:r>
            <a:endParaRPr lang="pt-BR" sz="2800" dirty="0">
              <a:solidFill>
                <a:schemeClr val="bg1"/>
              </a:solidFill>
              <a:latin typeface="Candara" panose="020E0502030303020204" pitchFamily="34" charset="0"/>
            </a:endParaRPr>
          </a:p>
        </p:txBody>
      </p:sp>
      <p:grpSp>
        <p:nvGrpSpPr>
          <p:cNvPr id="18" name="Agrupar 17">
            <a:extLst>
              <a:ext uri="{FF2B5EF4-FFF2-40B4-BE49-F238E27FC236}">
                <a16:creationId xmlns:a16="http://schemas.microsoft.com/office/drawing/2014/main" id="{9EE1EEEC-0D2E-008E-4289-6041B9BA473A}"/>
              </a:ext>
            </a:extLst>
          </p:cNvPr>
          <p:cNvGrpSpPr/>
          <p:nvPr/>
        </p:nvGrpSpPr>
        <p:grpSpPr>
          <a:xfrm>
            <a:off x="4254454" y="907077"/>
            <a:ext cx="2278722" cy="571086"/>
            <a:chOff x="8619367" y="1663200"/>
            <a:chExt cx="2278722" cy="571086"/>
          </a:xfrm>
        </p:grpSpPr>
        <p:sp>
          <p:nvSpPr>
            <p:cNvPr id="21" name="Retângulo de cantos arredondados 46">
              <a:extLst>
                <a:ext uri="{FF2B5EF4-FFF2-40B4-BE49-F238E27FC236}">
                  <a16:creationId xmlns:a16="http://schemas.microsoft.com/office/drawing/2014/main" id="{916036C6-B03E-A9D3-5F5C-BEE20559B997}"/>
                </a:ext>
              </a:extLst>
            </p:cNvPr>
            <p:cNvSpPr/>
            <p:nvPr/>
          </p:nvSpPr>
          <p:spPr>
            <a:xfrm>
              <a:off x="8619367" y="1663200"/>
              <a:ext cx="2278722" cy="571086"/>
            </a:xfrm>
            <a:prstGeom prst="roundRect">
              <a:avLst>
                <a:gd name="adj" fmla="val 50000"/>
              </a:avLst>
            </a:prstGeom>
            <a:solidFill>
              <a:srgbClr val="B8934B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endParaRPr lang="pt-BR" sz="1600" dirty="0">
                <a:latin typeface="Candara" panose="020E0502030303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2" name="CaixaDeTexto 21">
              <a:extLst>
                <a:ext uri="{FF2B5EF4-FFF2-40B4-BE49-F238E27FC236}">
                  <a16:creationId xmlns:a16="http://schemas.microsoft.com/office/drawing/2014/main" id="{D19D62AC-A4CA-1FFF-26FF-1C224377E686}"/>
                </a:ext>
              </a:extLst>
            </p:cNvPr>
            <p:cNvSpPr txBox="1"/>
            <p:nvPr/>
          </p:nvSpPr>
          <p:spPr>
            <a:xfrm>
              <a:off x="8741485" y="1746834"/>
              <a:ext cx="2034487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pt-BR" sz="2000" b="1" dirty="0">
                  <a:solidFill>
                    <a:schemeClr val="bg1"/>
                  </a:solidFill>
                  <a:latin typeface="Candara" panose="020E0502030303020204" pitchFamily="34" charset="0"/>
                </a:rPr>
                <a:t>Benefícios</a:t>
              </a:r>
            </a:p>
          </p:txBody>
        </p:sp>
      </p:grpSp>
      <p:sp>
        <p:nvSpPr>
          <p:cNvPr id="5" name="CaixaDeTexto 4">
            <a:extLst>
              <a:ext uri="{FF2B5EF4-FFF2-40B4-BE49-F238E27FC236}">
                <a16:creationId xmlns:a16="http://schemas.microsoft.com/office/drawing/2014/main" id="{0987D472-65EA-DE8C-5016-0ADD0335FBAE}"/>
              </a:ext>
            </a:extLst>
          </p:cNvPr>
          <p:cNvSpPr txBox="1"/>
          <p:nvPr/>
        </p:nvSpPr>
        <p:spPr>
          <a:xfrm>
            <a:off x="638839" y="2510134"/>
            <a:ext cx="10993179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indent="-342900">
              <a:buFont typeface="Wingdings" panose="05000000000000000000" pitchFamily="2" charset="2"/>
              <a:buChar char="§"/>
            </a:pPr>
            <a:r>
              <a:rPr lang="pt-BR" sz="2400" dirty="0">
                <a:solidFill>
                  <a:schemeClr val="bg1"/>
                </a:solidFill>
                <a:latin typeface="Candara" panose="020E0502030303020204" pitchFamily="34" charset="0"/>
              </a:rPr>
              <a:t>TELA que não distorce ás cores </a:t>
            </a:r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pt-BR" sz="2400" dirty="0">
                <a:solidFill>
                  <a:schemeClr val="bg1"/>
                </a:solidFill>
                <a:latin typeface="Candara" panose="020E0502030303020204" pitchFamily="34" charset="0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72168243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6DF8C58D-FC8F-7D3E-8900-1750E123787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m 2" descr="Interface gráfica do usuário&#10;&#10;O conteúdo gerado por IA pode estar incorreto.">
            <a:extLst>
              <a:ext uri="{FF2B5EF4-FFF2-40B4-BE49-F238E27FC236}">
                <a16:creationId xmlns:a16="http://schemas.microsoft.com/office/drawing/2014/main" id="{2A41C857-2F31-3872-EDFB-7838AFD16F3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6447" y="248306"/>
            <a:ext cx="1371600" cy="561358"/>
          </a:xfrm>
          <a:prstGeom prst="rect">
            <a:avLst/>
          </a:prstGeom>
        </p:spPr>
      </p:pic>
      <p:pic>
        <p:nvPicPr>
          <p:cNvPr id="1026" name="Picture 2" descr="logo claro PNG &amp; clipart images | Citypng">
            <a:extLst>
              <a:ext uri="{FF2B5EF4-FFF2-40B4-BE49-F238E27FC236}">
                <a16:creationId xmlns:a16="http://schemas.microsoft.com/office/drawing/2014/main" id="{E82220E7-71A0-FEEF-529F-3FC6C9AF4E8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ackgroundRemoval t="8875" b="90500" l="9625" r="90375">
                        <a14:foregroundMark x1="35125" y1="42750" x2="35125" y2="42750"/>
                        <a14:foregroundMark x1="35250" y1="45125" x2="33750" y2="54125"/>
                        <a14:foregroundMark x1="33750" y1="54125" x2="41375" y2="48750"/>
                        <a14:foregroundMark x1="41375" y1="48750" x2="36875" y2="40375"/>
                        <a14:foregroundMark x1="36875" y1="40375" x2="31375" y2="43625"/>
                        <a14:foregroundMark x1="22000" y1="41875" x2="12375" y2="50500"/>
                        <a14:foregroundMark x1="12375" y1="50500" x2="25625" y2="62375"/>
                        <a14:foregroundMark x1="25625" y1="62375" x2="52750" y2="64125"/>
                        <a14:foregroundMark x1="52750" y1="64125" x2="73500" y2="62500"/>
                        <a14:foregroundMark x1="73500" y1="62500" x2="87375" y2="56375"/>
                        <a14:foregroundMark x1="87375" y1="56375" x2="87125" y2="45625"/>
                        <a14:foregroundMark x1="87125" y1="45625" x2="84625" y2="37625"/>
                        <a14:foregroundMark x1="84625" y1="37625" x2="76500" y2="32125"/>
                        <a14:foregroundMark x1="76500" y1="32125" x2="57500" y2="27250"/>
                        <a14:foregroundMark x1="57500" y1="27250" x2="20250" y2="28750"/>
                        <a14:foregroundMark x1="20250" y1="28750" x2="15750" y2="38375"/>
                        <a14:foregroundMark x1="15750" y1="38375" x2="12250" y2="41125"/>
                        <a14:foregroundMark x1="28375" y1="36125" x2="17625" y2="48125"/>
                        <a14:foregroundMark x1="17625" y1="48125" x2="23875" y2="57625"/>
                        <a14:foregroundMark x1="23875" y1="57625" x2="34500" y2="44000"/>
                        <a14:foregroundMark x1="34500" y1="44000" x2="21250" y2="39375"/>
                        <a14:foregroundMark x1="21250" y1="39375" x2="19250" y2="41250"/>
                        <a14:foregroundMark x1="26250" y1="40250" x2="27375" y2="52750"/>
                        <a14:foregroundMark x1="27375" y1="52750" x2="28875" y2="40125"/>
                        <a14:foregroundMark x1="28875" y1="40125" x2="18750" y2="45500"/>
                        <a14:foregroundMark x1="18750" y1="45500" x2="20750" y2="48625"/>
                        <a14:foregroundMark x1="26875" y1="40625" x2="27375" y2="58250"/>
                        <a14:foregroundMark x1="27375" y1="58250" x2="30625" y2="48375"/>
                        <a14:foregroundMark x1="30625" y1="48375" x2="20375" y2="51125"/>
                        <a14:foregroundMark x1="20375" y1="51125" x2="20375" y2="52375"/>
                        <a14:foregroundMark x1="19125" y1="42500" x2="25500" y2="55125"/>
                        <a14:foregroundMark x1="25500" y1="55125" x2="25125" y2="59500"/>
                        <a14:foregroundMark x1="22250" y1="56750" x2="21750" y2="58125"/>
                        <a14:foregroundMark x1="38500" y1="39875" x2="29750" y2="53250"/>
                        <a14:foregroundMark x1="29750" y1="53250" x2="34875" y2="62125"/>
                        <a14:foregroundMark x1="34875" y1="62125" x2="39750" y2="49375"/>
                        <a14:foregroundMark x1="39750" y1="49375" x2="36125" y2="43000"/>
                        <a14:foregroundMark x1="43375" y1="42375" x2="41000" y2="60750"/>
                        <a14:foregroundMark x1="41000" y1="60750" x2="51625" y2="47750"/>
                        <a14:foregroundMark x1="51625" y1="47750" x2="43375" y2="46875"/>
                        <a14:foregroundMark x1="43375" y1="46875" x2="41375" y2="48000"/>
                        <a14:foregroundMark x1="47125" y1="50750" x2="48375" y2="59000"/>
                        <a14:foregroundMark x1="48375" y1="59000" x2="45125" y2="53500"/>
                        <a14:foregroundMark x1="53625" y1="43250" x2="52125" y2="50125"/>
                        <a14:foregroundMark x1="52125" y1="50125" x2="54125" y2="58375"/>
                        <a14:foregroundMark x1="54125" y1="58375" x2="58125" y2="50500"/>
                        <a14:foregroundMark x1="58125" y1="50500" x2="53250" y2="45125"/>
                        <a14:foregroundMark x1="53250" y1="45125" x2="51500" y2="45375"/>
                        <a14:foregroundMark x1="58625" y1="42000" x2="59750" y2="52125"/>
                        <a14:foregroundMark x1="59750" y1="52125" x2="57750" y2="45000"/>
                        <a14:foregroundMark x1="63000" y1="45375" x2="61000" y2="62375"/>
                        <a14:foregroundMark x1="61000" y1="62375" x2="73375" y2="56375"/>
                        <a14:foregroundMark x1="73375" y1="56375" x2="72000" y2="45625"/>
                        <a14:foregroundMark x1="72000" y1="45625" x2="64375" y2="43500"/>
                        <a14:foregroundMark x1="64375" y1="43500" x2="61750" y2="33375"/>
                        <a14:foregroundMark x1="61750" y1="33375" x2="72625" y2="31250"/>
                        <a14:foregroundMark x1="72625" y1="31250" x2="67750" y2="44000"/>
                        <a14:foregroundMark x1="67750" y1="44000" x2="73125" y2="38125"/>
                        <a14:foregroundMark x1="73125" y1="38125" x2="81750" y2="37125"/>
                        <a14:foregroundMark x1="81750" y1="37125" x2="77625" y2="50250"/>
                        <a14:foregroundMark x1="77625" y1="50250" x2="81750" y2="52375"/>
                        <a14:foregroundMark x1="68875" y1="31750" x2="67125" y2="43250"/>
                        <a14:foregroundMark x1="67125" y1="43250" x2="69125" y2="34625"/>
                        <a14:foregroundMark x1="78750" y1="32500" x2="75250" y2="44500"/>
                        <a14:foregroundMark x1="75250" y1="44500" x2="79875" y2="36750"/>
                        <a14:foregroundMark x1="79875" y1="36750" x2="76875" y2="36375"/>
                        <a14:foregroundMark x1="78750" y1="46625" x2="80125" y2="55500"/>
                        <a14:foregroundMark x1="80125" y1="55500" x2="80750" y2="46125"/>
                        <a14:foregroundMark x1="80750" y1="46125" x2="77750" y2="45875"/>
                        <a14:foregroundMark x1="90375" y1="44000" x2="88750" y2="56375"/>
                        <a14:foregroundMark x1="45750" y1="10250" x2="57875" y2="11500"/>
                        <a14:foregroundMark x1="54125" y1="8875" x2="53500" y2="9125"/>
                        <a14:foregroundMark x1="49500" y1="90500" x2="54125" y2="89500"/>
                        <a14:foregroundMark x1="9625" y1="49625" x2="11000" y2="47125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3256" t="7288" r="7881" b="3666"/>
          <a:stretch>
            <a:fillRect/>
          </a:stretch>
        </p:blipFill>
        <p:spPr bwMode="auto">
          <a:xfrm>
            <a:off x="11238614" y="5890437"/>
            <a:ext cx="733648" cy="7351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CaixaDeTexto 3">
            <a:extLst>
              <a:ext uri="{FF2B5EF4-FFF2-40B4-BE49-F238E27FC236}">
                <a16:creationId xmlns:a16="http://schemas.microsoft.com/office/drawing/2014/main" id="{6FCF51EF-804B-7015-0216-99AB18E66CA5}"/>
              </a:ext>
            </a:extLst>
          </p:cNvPr>
          <p:cNvSpPr txBox="1"/>
          <p:nvPr/>
        </p:nvSpPr>
        <p:spPr>
          <a:xfrm>
            <a:off x="3220720" y="2459504"/>
            <a:ext cx="5750559" cy="193899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pt-BR" sz="4000" b="1" dirty="0">
                <a:solidFill>
                  <a:schemeClr val="bg1"/>
                </a:solidFill>
                <a:latin typeface="Candara" panose="020E0502030303020204" pitchFamily="34" charset="0"/>
              </a:rPr>
              <a:t>Muito Obrigado </a:t>
            </a:r>
          </a:p>
          <a:p>
            <a:pPr algn="ctr"/>
            <a:r>
              <a:rPr lang="pt-BR" sz="4000" b="1" dirty="0">
                <a:solidFill>
                  <a:schemeClr val="bg1"/>
                </a:solidFill>
                <a:latin typeface="Candara" panose="020E0502030303020204" pitchFamily="34" charset="0"/>
              </a:rPr>
              <a:t>e </a:t>
            </a:r>
          </a:p>
          <a:p>
            <a:pPr algn="ctr"/>
            <a:r>
              <a:rPr lang="pt-BR" sz="4000" b="1" dirty="0">
                <a:solidFill>
                  <a:schemeClr val="bg1"/>
                </a:solidFill>
                <a:latin typeface="Candara" panose="020E0502030303020204" pitchFamily="34" charset="0"/>
              </a:rPr>
              <a:t>Boas Vendas </a:t>
            </a:r>
            <a:endParaRPr lang="pt-BR" sz="20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5762449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F18E72A8-5A8C-F771-2448-BFAF8131A91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m 2" descr="Interface gráfica do usuário&#10;&#10;O conteúdo gerado por IA pode estar incorreto.">
            <a:extLst>
              <a:ext uri="{FF2B5EF4-FFF2-40B4-BE49-F238E27FC236}">
                <a16:creationId xmlns:a16="http://schemas.microsoft.com/office/drawing/2014/main" id="{67D1D368-E402-1E6E-3AD5-13BDFC2288A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6447" y="248306"/>
            <a:ext cx="1371600" cy="561358"/>
          </a:xfrm>
          <a:prstGeom prst="rect">
            <a:avLst/>
          </a:prstGeom>
        </p:spPr>
      </p:pic>
      <p:pic>
        <p:nvPicPr>
          <p:cNvPr id="1026" name="Picture 2" descr="logo claro PNG &amp; clipart images | Citypng">
            <a:extLst>
              <a:ext uri="{FF2B5EF4-FFF2-40B4-BE49-F238E27FC236}">
                <a16:creationId xmlns:a16="http://schemas.microsoft.com/office/drawing/2014/main" id="{253CD991-E7C5-B723-20F4-E5C570215E2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ackgroundRemoval t="8875" b="90500" l="9625" r="90375">
                        <a14:foregroundMark x1="35125" y1="42750" x2="35125" y2="42750"/>
                        <a14:foregroundMark x1="35250" y1="45125" x2="33750" y2="54125"/>
                        <a14:foregroundMark x1="33750" y1="54125" x2="41375" y2="48750"/>
                        <a14:foregroundMark x1="41375" y1="48750" x2="36875" y2="40375"/>
                        <a14:foregroundMark x1="36875" y1="40375" x2="31375" y2="43625"/>
                        <a14:foregroundMark x1="22000" y1="41875" x2="12375" y2="50500"/>
                        <a14:foregroundMark x1="12375" y1="50500" x2="25625" y2="62375"/>
                        <a14:foregroundMark x1="25625" y1="62375" x2="52750" y2="64125"/>
                        <a14:foregroundMark x1="52750" y1="64125" x2="73500" y2="62500"/>
                        <a14:foregroundMark x1="73500" y1="62500" x2="87375" y2="56375"/>
                        <a14:foregroundMark x1="87375" y1="56375" x2="87125" y2="45625"/>
                        <a14:foregroundMark x1="87125" y1="45625" x2="84625" y2="37625"/>
                        <a14:foregroundMark x1="84625" y1="37625" x2="76500" y2="32125"/>
                        <a14:foregroundMark x1="76500" y1="32125" x2="57500" y2="27250"/>
                        <a14:foregroundMark x1="57500" y1="27250" x2="20250" y2="28750"/>
                        <a14:foregroundMark x1="20250" y1="28750" x2="15750" y2="38375"/>
                        <a14:foregroundMark x1="15750" y1="38375" x2="12250" y2="41125"/>
                        <a14:foregroundMark x1="28375" y1="36125" x2="17625" y2="48125"/>
                        <a14:foregroundMark x1="17625" y1="48125" x2="23875" y2="57625"/>
                        <a14:foregroundMark x1="23875" y1="57625" x2="34500" y2="44000"/>
                        <a14:foregroundMark x1="34500" y1="44000" x2="21250" y2="39375"/>
                        <a14:foregroundMark x1="21250" y1="39375" x2="19250" y2="41250"/>
                        <a14:foregroundMark x1="26250" y1="40250" x2="27375" y2="52750"/>
                        <a14:foregroundMark x1="27375" y1="52750" x2="28875" y2="40125"/>
                        <a14:foregroundMark x1="28875" y1="40125" x2="18750" y2="45500"/>
                        <a14:foregroundMark x1="18750" y1="45500" x2="20750" y2="48625"/>
                        <a14:foregroundMark x1="26875" y1="40625" x2="27375" y2="58250"/>
                        <a14:foregroundMark x1="27375" y1="58250" x2="30625" y2="48375"/>
                        <a14:foregroundMark x1="30625" y1="48375" x2="20375" y2="51125"/>
                        <a14:foregroundMark x1="20375" y1="51125" x2="20375" y2="52375"/>
                        <a14:foregroundMark x1="19125" y1="42500" x2="25500" y2="55125"/>
                        <a14:foregroundMark x1="25500" y1="55125" x2="25125" y2="59500"/>
                        <a14:foregroundMark x1="22250" y1="56750" x2="21750" y2="58125"/>
                        <a14:foregroundMark x1="38500" y1="39875" x2="29750" y2="53250"/>
                        <a14:foregroundMark x1="29750" y1="53250" x2="34875" y2="62125"/>
                        <a14:foregroundMark x1="34875" y1="62125" x2="39750" y2="49375"/>
                        <a14:foregroundMark x1="39750" y1="49375" x2="36125" y2="43000"/>
                        <a14:foregroundMark x1="43375" y1="42375" x2="41000" y2="60750"/>
                        <a14:foregroundMark x1="41000" y1="60750" x2="51625" y2="47750"/>
                        <a14:foregroundMark x1="51625" y1="47750" x2="43375" y2="46875"/>
                        <a14:foregroundMark x1="43375" y1="46875" x2="41375" y2="48000"/>
                        <a14:foregroundMark x1="47125" y1="50750" x2="48375" y2="59000"/>
                        <a14:foregroundMark x1="48375" y1="59000" x2="45125" y2="53500"/>
                        <a14:foregroundMark x1="53625" y1="43250" x2="52125" y2="50125"/>
                        <a14:foregroundMark x1="52125" y1="50125" x2="54125" y2="58375"/>
                        <a14:foregroundMark x1="54125" y1="58375" x2="58125" y2="50500"/>
                        <a14:foregroundMark x1="58125" y1="50500" x2="53250" y2="45125"/>
                        <a14:foregroundMark x1="53250" y1="45125" x2="51500" y2="45375"/>
                        <a14:foregroundMark x1="58625" y1="42000" x2="59750" y2="52125"/>
                        <a14:foregroundMark x1="59750" y1="52125" x2="57750" y2="45000"/>
                        <a14:foregroundMark x1="63000" y1="45375" x2="61000" y2="62375"/>
                        <a14:foregroundMark x1="61000" y1="62375" x2="73375" y2="56375"/>
                        <a14:foregroundMark x1="73375" y1="56375" x2="72000" y2="45625"/>
                        <a14:foregroundMark x1="72000" y1="45625" x2="64375" y2="43500"/>
                        <a14:foregroundMark x1="64375" y1="43500" x2="61750" y2="33375"/>
                        <a14:foregroundMark x1="61750" y1="33375" x2="72625" y2="31250"/>
                        <a14:foregroundMark x1="72625" y1="31250" x2="67750" y2="44000"/>
                        <a14:foregroundMark x1="67750" y1="44000" x2="73125" y2="38125"/>
                        <a14:foregroundMark x1="73125" y1="38125" x2="81750" y2="37125"/>
                        <a14:foregroundMark x1="81750" y1="37125" x2="77625" y2="50250"/>
                        <a14:foregroundMark x1="77625" y1="50250" x2="81750" y2="52375"/>
                        <a14:foregroundMark x1="68875" y1="31750" x2="67125" y2="43250"/>
                        <a14:foregroundMark x1="67125" y1="43250" x2="69125" y2="34625"/>
                        <a14:foregroundMark x1="78750" y1="32500" x2="75250" y2="44500"/>
                        <a14:foregroundMark x1="75250" y1="44500" x2="79875" y2="36750"/>
                        <a14:foregroundMark x1="79875" y1="36750" x2="76875" y2="36375"/>
                        <a14:foregroundMark x1="78750" y1="46625" x2="80125" y2="55500"/>
                        <a14:foregroundMark x1="80125" y1="55500" x2="80750" y2="46125"/>
                        <a14:foregroundMark x1="80750" y1="46125" x2="77750" y2="45875"/>
                        <a14:foregroundMark x1="90375" y1="44000" x2="88750" y2="56375"/>
                        <a14:foregroundMark x1="45750" y1="10250" x2="57875" y2="11500"/>
                        <a14:foregroundMark x1="54125" y1="8875" x2="53500" y2="9125"/>
                        <a14:foregroundMark x1="49500" y1="90500" x2="54125" y2="89500"/>
                        <a14:foregroundMark x1="9625" y1="49625" x2="11000" y2="47125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3256" t="7288" r="7881" b="3666"/>
          <a:stretch>
            <a:fillRect/>
          </a:stretch>
        </p:blipFill>
        <p:spPr bwMode="auto">
          <a:xfrm>
            <a:off x="11238614" y="5890437"/>
            <a:ext cx="733648" cy="7351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ítulo 1">
            <a:extLst>
              <a:ext uri="{FF2B5EF4-FFF2-40B4-BE49-F238E27FC236}">
                <a16:creationId xmlns:a16="http://schemas.microsoft.com/office/drawing/2014/main" id="{B06D8D34-7561-9B81-2A61-B7DEDD17D74B}"/>
              </a:ext>
            </a:extLst>
          </p:cNvPr>
          <p:cNvSpPr txBox="1">
            <a:spLocks/>
          </p:cNvSpPr>
          <p:nvPr/>
        </p:nvSpPr>
        <p:spPr>
          <a:xfrm>
            <a:off x="2398563" y="382486"/>
            <a:ext cx="6942165" cy="854355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t-BR" sz="2700" dirty="0">
                <a:solidFill>
                  <a:schemeClr val="bg1">
                    <a:lumMod val="95000"/>
                  </a:schemeClr>
                </a:solidFill>
                <a:latin typeface="Candara" panose="020E0502030303020204" pitchFamily="34" charset="0"/>
              </a:rPr>
              <a:t>Pilares  de negociação </a:t>
            </a:r>
          </a:p>
        </p:txBody>
      </p:sp>
      <p:grpSp>
        <p:nvGrpSpPr>
          <p:cNvPr id="2" name="Agrupar 1">
            <a:extLst>
              <a:ext uri="{FF2B5EF4-FFF2-40B4-BE49-F238E27FC236}">
                <a16:creationId xmlns:a16="http://schemas.microsoft.com/office/drawing/2014/main" id="{095070BB-D3E4-E5B6-3814-6058DA159C4E}"/>
              </a:ext>
            </a:extLst>
          </p:cNvPr>
          <p:cNvGrpSpPr/>
          <p:nvPr/>
        </p:nvGrpSpPr>
        <p:grpSpPr>
          <a:xfrm>
            <a:off x="2614652" y="4923808"/>
            <a:ext cx="1349865" cy="1933258"/>
            <a:chOff x="1955544" y="3326945"/>
            <a:chExt cx="1245161" cy="1773590"/>
          </a:xfrm>
        </p:grpSpPr>
        <p:pic>
          <p:nvPicPr>
            <p:cNvPr id="14" name="Picture 4" descr="Os três pilares de qualquer investimento - A hora do dinheiro, pialres -  3-port.si">
              <a:extLst>
                <a:ext uri="{FF2B5EF4-FFF2-40B4-BE49-F238E27FC236}">
                  <a16:creationId xmlns:a16="http://schemas.microsoft.com/office/drawing/2014/main" id="{2A415FEE-6558-C107-25B9-746B54014065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6">
              <a:extLst>
                <a:ext uri="{BEBA8EAE-BF5A-486C-A8C5-ECC9F3942E4B}">
                  <a14:imgProps xmlns:a14="http://schemas.microsoft.com/office/drawing/2010/main">
                    <a14:imgLayer r:embed="rId7">
                      <a14:imgEffect>
                        <a14:backgroundRemoval t="34831" b="99251" l="8563" r="33500">
                          <a14:foregroundMark x1="8563" y1="53059" x2="8750" y2="47566"/>
                          <a14:foregroundMark x1="33188" y1="47066" x2="33375" y2="52684"/>
                          <a14:foregroundMark x1="33063" y1="53933" x2="32063" y2="55181"/>
                          <a14:foregroundMark x1="33125" y1="53933" x2="31938" y2="56305"/>
                          <a14:foregroundMark x1="17688" y1="95131" x2="23938" y2="95506"/>
                          <a14:foregroundMark x1="23938" y1="95506" x2="25875" y2="94757"/>
                          <a14:foregroundMark x1="19188" y1="98752" x2="21625" y2="99251"/>
                          <a14:backgroundMark x1="6938" y1="33583" x2="9563" y2="33084"/>
                          <a14:backgroundMark x1="8125" y1="32959" x2="17875" y2="32959"/>
                        </a14:backgroundRemoval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160" t="27936" r="63394" b="-157"/>
            <a:stretch/>
          </p:blipFill>
          <p:spPr bwMode="auto">
            <a:xfrm>
              <a:off x="1955544" y="3688282"/>
              <a:ext cx="1189083" cy="141225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5" name="Espaço Reservado para Conteúdo 2">
              <a:extLst>
                <a:ext uri="{FF2B5EF4-FFF2-40B4-BE49-F238E27FC236}">
                  <a16:creationId xmlns:a16="http://schemas.microsoft.com/office/drawing/2014/main" id="{8BA5E843-7C92-0D42-31EC-D2F03DF54F57}"/>
                </a:ext>
              </a:extLst>
            </p:cNvPr>
            <p:cNvSpPr txBox="1">
              <a:spLocks/>
            </p:cNvSpPr>
            <p:nvPr/>
          </p:nvSpPr>
          <p:spPr>
            <a:xfrm>
              <a:off x="1975119" y="3326945"/>
              <a:ext cx="1225586" cy="432707"/>
            </a:xfrm>
            <a:prstGeom prst="rect">
              <a:avLst/>
            </a:prstGeom>
          </p:spPr>
          <p:txBody>
            <a:bodyPr vert="horz" lIns="91440" tIns="45720" rIns="91440" bIns="45720" rtlCol="0" anchor="t">
              <a:normAutofit/>
            </a:bodyPr>
            <a:lstStyle>
              <a:lvl1pPr marL="171450" indent="-171450" algn="l" defTabSz="685800" rtl="0" eaLnBrk="1" latinLnBrk="0" hangingPunct="1">
                <a:lnSpc>
                  <a:spcPct val="90000"/>
                </a:lnSpc>
                <a:spcBef>
                  <a:spcPts val="750"/>
                </a:spcBef>
                <a:buFont typeface="Arial" panose="020B0604020202020204" pitchFamily="34" charset="0"/>
                <a:buChar char="•"/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14350" indent="-171450" algn="l" defTabSz="68580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57250" indent="-171450" algn="l" defTabSz="68580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00150" indent="-171450" algn="l" defTabSz="68580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543050" indent="-171450" algn="l" defTabSz="68580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885950" indent="-171450" algn="l" defTabSz="68580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228850" indent="-171450" algn="l" defTabSz="68580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571750" indent="-171450" algn="l" defTabSz="68580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914650" indent="-171450" algn="l" defTabSz="68580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pt-BR" sz="2400" b="1" dirty="0" err="1">
                  <a:solidFill>
                    <a:schemeClr val="bg2"/>
                  </a:solidFill>
                  <a:latin typeface="Candara" panose="020E0502030303020204" pitchFamily="34" charset="0"/>
                </a:rPr>
                <a:t>PETs</a:t>
              </a:r>
              <a:endParaRPr lang="pt-BR" sz="2400" b="1" dirty="0">
                <a:solidFill>
                  <a:schemeClr val="bg2"/>
                </a:solidFill>
                <a:latin typeface="Candara" panose="020E0502030303020204" pitchFamily="34" charset="0"/>
              </a:endParaRPr>
            </a:p>
            <a:p>
              <a:endParaRPr lang="pt-BR" sz="1400" dirty="0">
                <a:solidFill>
                  <a:schemeClr val="bg2"/>
                </a:solidFill>
                <a:latin typeface="Candara" panose="020E0502030303020204" pitchFamily="34" charset="0"/>
              </a:endParaRPr>
            </a:p>
          </p:txBody>
        </p:sp>
      </p:grpSp>
      <p:grpSp>
        <p:nvGrpSpPr>
          <p:cNvPr id="16" name="Agrupar 15">
            <a:extLst>
              <a:ext uri="{FF2B5EF4-FFF2-40B4-BE49-F238E27FC236}">
                <a16:creationId xmlns:a16="http://schemas.microsoft.com/office/drawing/2014/main" id="{AFC8167E-BF82-4C96-DFAA-CE9577E600C3}"/>
              </a:ext>
            </a:extLst>
          </p:cNvPr>
          <p:cNvGrpSpPr/>
          <p:nvPr/>
        </p:nvGrpSpPr>
        <p:grpSpPr>
          <a:xfrm>
            <a:off x="4278938" y="3987982"/>
            <a:ext cx="2347433" cy="2870018"/>
            <a:chOff x="3200705" y="2490019"/>
            <a:chExt cx="2165352" cy="2632983"/>
          </a:xfrm>
        </p:grpSpPr>
        <p:pic>
          <p:nvPicPr>
            <p:cNvPr id="20" name="Picture 4" descr="Os três pilares de qualquer investimento - A hora do dinheiro, pialres -  3-port.si">
              <a:extLst>
                <a:ext uri="{FF2B5EF4-FFF2-40B4-BE49-F238E27FC236}">
                  <a16:creationId xmlns:a16="http://schemas.microsoft.com/office/drawing/2014/main" id="{A39C6115-A589-2414-666C-BDEE51D52F6B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6">
              <a:extLst>
                <a:ext uri="{BEBA8EAE-BF5A-486C-A8C5-ECC9F3942E4B}">
                  <a14:imgProps xmlns:a14="http://schemas.microsoft.com/office/drawing/2010/main">
                    <a14:imgLayer r:embed="rId7">
                      <a14:imgEffect>
                        <a14:backgroundRemoval t="34831" b="99251" l="8563" r="33500">
                          <a14:foregroundMark x1="8563" y1="53059" x2="8750" y2="47566"/>
                          <a14:foregroundMark x1="33188" y1="47066" x2="33375" y2="52684"/>
                          <a14:foregroundMark x1="33063" y1="53933" x2="32063" y2="55181"/>
                          <a14:foregroundMark x1="33125" y1="53933" x2="31938" y2="56305"/>
                          <a14:foregroundMark x1="17688" y1="95131" x2="23938" y2="95506"/>
                          <a14:foregroundMark x1="23938" y1="95506" x2="25875" y2="94757"/>
                          <a14:foregroundMark x1="19188" y1="98752" x2="21625" y2="99251"/>
                          <a14:backgroundMark x1="6938" y1="33583" x2="9563" y2="33084"/>
                          <a14:backgroundMark x1="8125" y1="32959" x2="17875" y2="32959"/>
                        </a14:backgroundRemoval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160" t="27936" r="63394" b="-157"/>
            <a:stretch/>
          </p:blipFill>
          <p:spPr bwMode="auto">
            <a:xfrm>
              <a:off x="3237971" y="2706373"/>
              <a:ext cx="2034742" cy="241662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1" name="Espaço Reservado para Conteúdo 2">
              <a:extLst>
                <a:ext uri="{FF2B5EF4-FFF2-40B4-BE49-F238E27FC236}">
                  <a16:creationId xmlns:a16="http://schemas.microsoft.com/office/drawing/2014/main" id="{72649184-9B70-6968-62F6-29DB9EEE940B}"/>
                </a:ext>
              </a:extLst>
            </p:cNvPr>
            <p:cNvSpPr txBox="1">
              <a:spLocks/>
            </p:cNvSpPr>
            <p:nvPr/>
          </p:nvSpPr>
          <p:spPr>
            <a:xfrm>
              <a:off x="3200705" y="2490019"/>
              <a:ext cx="2165352" cy="432707"/>
            </a:xfrm>
            <a:prstGeom prst="rect">
              <a:avLst/>
            </a:prstGeom>
          </p:spPr>
          <p:txBody>
            <a:bodyPr vert="horz" lIns="91440" tIns="45720" rIns="91440" bIns="45720" rtlCol="0" anchor="t">
              <a:normAutofit fontScale="77500" lnSpcReduction="20000"/>
            </a:bodyPr>
            <a:lstStyle>
              <a:lvl1pPr marL="171450" indent="-171450" algn="l" defTabSz="685800" rtl="0" eaLnBrk="1" latinLnBrk="0" hangingPunct="1">
                <a:lnSpc>
                  <a:spcPct val="90000"/>
                </a:lnSpc>
                <a:spcBef>
                  <a:spcPts val="750"/>
                </a:spcBef>
                <a:buFont typeface="Arial" panose="020B0604020202020204" pitchFamily="34" charset="0"/>
                <a:buChar char="•"/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14350" indent="-171450" algn="l" defTabSz="68580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57250" indent="-171450" algn="l" defTabSz="68580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00150" indent="-171450" algn="l" defTabSz="68580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543050" indent="-171450" algn="l" defTabSz="68580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885950" indent="-171450" algn="l" defTabSz="68580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228850" indent="-171450" algn="l" defTabSz="68580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571750" indent="-171450" algn="l" defTabSz="68580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914650" indent="-171450" algn="l" defTabSz="68580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pt-BR" sz="4000" b="1" dirty="0">
                  <a:solidFill>
                    <a:schemeClr val="bg2"/>
                  </a:solidFill>
                  <a:latin typeface="Candara" panose="020E0502030303020204" pitchFamily="34" charset="0"/>
                </a:rPr>
                <a:t>Iluminação</a:t>
              </a:r>
            </a:p>
            <a:p>
              <a:endParaRPr lang="pt-BR" sz="1400" dirty="0">
                <a:solidFill>
                  <a:schemeClr val="bg2"/>
                </a:solidFill>
                <a:latin typeface="Candara" panose="020E0502030303020204" pitchFamily="34" charset="0"/>
              </a:endParaRPr>
            </a:p>
          </p:txBody>
        </p:sp>
      </p:grpSp>
      <p:grpSp>
        <p:nvGrpSpPr>
          <p:cNvPr id="22" name="Agrupar 21">
            <a:extLst>
              <a:ext uri="{FF2B5EF4-FFF2-40B4-BE49-F238E27FC236}">
                <a16:creationId xmlns:a16="http://schemas.microsoft.com/office/drawing/2014/main" id="{42CF4CE4-24C1-2831-3FCD-3CF19C3A55AD}"/>
              </a:ext>
            </a:extLst>
          </p:cNvPr>
          <p:cNvGrpSpPr/>
          <p:nvPr/>
        </p:nvGrpSpPr>
        <p:grpSpPr>
          <a:xfrm>
            <a:off x="6626371" y="5033457"/>
            <a:ext cx="2529216" cy="1824543"/>
            <a:chOff x="5043738" y="3469646"/>
            <a:chExt cx="2333034" cy="1673854"/>
          </a:xfrm>
        </p:grpSpPr>
        <p:pic>
          <p:nvPicPr>
            <p:cNvPr id="23" name="Picture 4" descr="Os três pilares de qualquer investimento - A hora do dinheiro, pialres -  3-port.si">
              <a:extLst>
                <a:ext uri="{FF2B5EF4-FFF2-40B4-BE49-F238E27FC236}">
                  <a16:creationId xmlns:a16="http://schemas.microsoft.com/office/drawing/2014/main" id="{31F88797-DB9D-6116-5A6E-E330F1D7C524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6">
              <a:extLst>
                <a:ext uri="{BEBA8EAE-BF5A-486C-A8C5-ECC9F3942E4B}">
                  <a14:imgProps xmlns:a14="http://schemas.microsoft.com/office/drawing/2010/main">
                    <a14:imgLayer r:embed="rId7">
                      <a14:imgEffect>
                        <a14:backgroundRemoval t="34831" b="99251" l="8563" r="33500">
                          <a14:foregroundMark x1="8563" y1="53059" x2="8750" y2="47566"/>
                          <a14:foregroundMark x1="33188" y1="47066" x2="33375" y2="52684"/>
                          <a14:foregroundMark x1="33063" y1="53933" x2="32063" y2="55181"/>
                          <a14:foregroundMark x1="33125" y1="53933" x2="31938" y2="56305"/>
                          <a14:foregroundMark x1="17688" y1="95131" x2="23938" y2="95506"/>
                          <a14:foregroundMark x1="23938" y1="95506" x2="25875" y2="94757"/>
                          <a14:foregroundMark x1="19188" y1="98752" x2="21625" y2="99251"/>
                          <a14:backgroundMark x1="6938" y1="33583" x2="9563" y2="33084"/>
                          <a14:backgroundMark x1="8125" y1="32959" x2="17875" y2="32959"/>
                        </a14:backgroundRemoval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160" t="27936" r="63394" b="-157"/>
            <a:stretch/>
          </p:blipFill>
          <p:spPr bwMode="auto">
            <a:xfrm>
              <a:off x="5579539" y="3645319"/>
              <a:ext cx="1261432" cy="149818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4" name="Espaço Reservado para Conteúdo 2">
              <a:extLst>
                <a:ext uri="{FF2B5EF4-FFF2-40B4-BE49-F238E27FC236}">
                  <a16:creationId xmlns:a16="http://schemas.microsoft.com/office/drawing/2014/main" id="{BA7F5556-8BF9-F899-505D-CDCAD395FB8D}"/>
                </a:ext>
              </a:extLst>
            </p:cNvPr>
            <p:cNvSpPr txBox="1">
              <a:spLocks/>
            </p:cNvSpPr>
            <p:nvPr/>
          </p:nvSpPr>
          <p:spPr>
            <a:xfrm>
              <a:off x="5043738" y="3469646"/>
              <a:ext cx="2333034" cy="432707"/>
            </a:xfrm>
            <a:prstGeom prst="rect">
              <a:avLst/>
            </a:prstGeom>
          </p:spPr>
          <p:txBody>
            <a:bodyPr vert="horz" lIns="91440" tIns="45720" rIns="91440" bIns="45720" rtlCol="0" anchor="t">
              <a:normAutofit fontScale="32500" lnSpcReduction="20000"/>
            </a:bodyPr>
            <a:lstStyle>
              <a:lvl1pPr marL="171450" indent="-171450" algn="l" defTabSz="685800" rtl="0" eaLnBrk="1" latinLnBrk="0" hangingPunct="1">
                <a:lnSpc>
                  <a:spcPct val="90000"/>
                </a:lnSpc>
                <a:spcBef>
                  <a:spcPts val="750"/>
                </a:spcBef>
                <a:buFont typeface="Arial" panose="020B0604020202020204" pitchFamily="34" charset="0"/>
                <a:buChar char="•"/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14350" indent="-171450" algn="l" defTabSz="68580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57250" indent="-171450" algn="l" defTabSz="68580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00150" indent="-171450" algn="l" defTabSz="68580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543050" indent="-171450" algn="l" defTabSz="68580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885950" indent="-171450" algn="l" defTabSz="68580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228850" indent="-171450" algn="l" defTabSz="68580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571750" indent="-171450" algn="l" defTabSz="68580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914650" indent="-171450" algn="l" defTabSz="68580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pt-BR" sz="6200" b="1" dirty="0">
                  <a:solidFill>
                    <a:schemeClr val="bg2"/>
                  </a:solidFill>
                  <a:latin typeface="Candara" panose="020E0502030303020204" pitchFamily="34" charset="0"/>
                </a:rPr>
                <a:t>Transformadores </a:t>
              </a:r>
            </a:p>
            <a:p>
              <a:endParaRPr lang="pt-BR" sz="1400" dirty="0">
                <a:solidFill>
                  <a:schemeClr val="bg2"/>
                </a:solidFill>
                <a:latin typeface="Candara" panose="020E0502030303020204" pitchFamily="34" charset="0"/>
              </a:endParaRPr>
            </a:p>
          </p:txBody>
        </p:sp>
      </p:grpSp>
      <p:grpSp>
        <p:nvGrpSpPr>
          <p:cNvPr id="25" name="Agrupar 24">
            <a:extLst>
              <a:ext uri="{FF2B5EF4-FFF2-40B4-BE49-F238E27FC236}">
                <a16:creationId xmlns:a16="http://schemas.microsoft.com/office/drawing/2014/main" id="{D1093BA2-0A1F-8266-51A1-E73DB87EFBB9}"/>
              </a:ext>
            </a:extLst>
          </p:cNvPr>
          <p:cNvGrpSpPr/>
          <p:nvPr/>
        </p:nvGrpSpPr>
        <p:grpSpPr>
          <a:xfrm>
            <a:off x="9189061" y="4300594"/>
            <a:ext cx="2014358" cy="2557406"/>
            <a:chOff x="7324427" y="2797311"/>
            <a:chExt cx="1858112" cy="2346189"/>
          </a:xfrm>
        </p:grpSpPr>
        <p:pic>
          <p:nvPicPr>
            <p:cNvPr id="26" name="Picture 4" descr="Os três pilares de qualquer investimento - A hora do dinheiro, pialres -  3-port.si">
              <a:extLst>
                <a:ext uri="{FF2B5EF4-FFF2-40B4-BE49-F238E27FC236}">
                  <a16:creationId xmlns:a16="http://schemas.microsoft.com/office/drawing/2014/main" id="{C4641122-8B0F-CC0C-9D68-BBD4800172CB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6">
              <a:extLst>
                <a:ext uri="{BEBA8EAE-BF5A-486C-A8C5-ECC9F3942E4B}">
                  <a14:imgProps xmlns:a14="http://schemas.microsoft.com/office/drawing/2010/main">
                    <a14:imgLayer r:embed="rId7">
                      <a14:imgEffect>
                        <a14:backgroundRemoval t="34831" b="99251" l="8563" r="33500">
                          <a14:foregroundMark x1="8563" y1="53059" x2="8750" y2="47566"/>
                          <a14:foregroundMark x1="33188" y1="47066" x2="33375" y2="52684"/>
                          <a14:foregroundMark x1="33063" y1="53933" x2="32063" y2="55181"/>
                          <a14:foregroundMark x1="33125" y1="53933" x2="31938" y2="56305"/>
                          <a14:foregroundMark x1="17688" y1="95131" x2="23938" y2="95506"/>
                          <a14:foregroundMark x1="23938" y1="95506" x2="25875" y2="94757"/>
                          <a14:foregroundMark x1="19188" y1="98752" x2="21625" y2="99251"/>
                          <a14:backgroundMark x1="6938" y1="33583" x2="9563" y2="33084"/>
                          <a14:backgroundMark x1="8125" y1="32959" x2="17875" y2="32959"/>
                        </a14:backgroundRemoval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160" t="27936" r="63394" b="-157"/>
            <a:stretch/>
          </p:blipFill>
          <p:spPr bwMode="auto">
            <a:xfrm>
              <a:off x="7324427" y="2936652"/>
              <a:ext cx="1858112" cy="220684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7" name="Espaço Reservado para Conteúdo 2">
              <a:extLst>
                <a:ext uri="{FF2B5EF4-FFF2-40B4-BE49-F238E27FC236}">
                  <a16:creationId xmlns:a16="http://schemas.microsoft.com/office/drawing/2014/main" id="{FCDA76A5-A9AD-8BA7-254D-AA9380554A37}"/>
                </a:ext>
              </a:extLst>
            </p:cNvPr>
            <p:cNvSpPr txBox="1">
              <a:spLocks/>
            </p:cNvSpPr>
            <p:nvPr/>
          </p:nvSpPr>
          <p:spPr>
            <a:xfrm>
              <a:off x="7474059" y="2797311"/>
              <a:ext cx="1558847" cy="432707"/>
            </a:xfrm>
            <a:prstGeom prst="rect">
              <a:avLst/>
            </a:prstGeom>
          </p:spPr>
          <p:txBody>
            <a:bodyPr vert="horz" lIns="91440" tIns="45720" rIns="91440" bIns="45720" rtlCol="0" anchor="t">
              <a:normAutofit fontScale="25000" lnSpcReduction="20000"/>
            </a:bodyPr>
            <a:lstStyle>
              <a:lvl1pPr marL="171450" indent="-171450" algn="l" defTabSz="685800" rtl="0" eaLnBrk="1" latinLnBrk="0" hangingPunct="1">
                <a:lnSpc>
                  <a:spcPct val="90000"/>
                </a:lnSpc>
                <a:spcBef>
                  <a:spcPts val="750"/>
                </a:spcBef>
                <a:buFont typeface="Arial" panose="020B0604020202020204" pitchFamily="34" charset="0"/>
                <a:buChar char="•"/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14350" indent="-171450" algn="l" defTabSz="68580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57250" indent="-171450" algn="l" defTabSz="68580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00150" indent="-171450" algn="l" defTabSz="68580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543050" indent="-171450" algn="l" defTabSz="68580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885950" indent="-171450" algn="l" defTabSz="68580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228850" indent="-171450" algn="l" defTabSz="68580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571750" indent="-171450" algn="l" defTabSz="68580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914650" indent="-171450" algn="l" defTabSz="68580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pt-BR" sz="9600" b="1" dirty="0">
                  <a:solidFill>
                    <a:schemeClr val="bg2"/>
                  </a:solidFill>
                  <a:latin typeface="Candara" panose="020E0502030303020204" pitchFamily="34" charset="0"/>
                </a:rPr>
                <a:t>Sonoros</a:t>
              </a:r>
            </a:p>
            <a:p>
              <a:endParaRPr lang="pt-BR" sz="1400" dirty="0">
                <a:solidFill>
                  <a:schemeClr val="bg2"/>
                </a:solidFill>
                <a:latin typeface="Candara" panose="020E0502030303020204" pitchFamily="34" charset="0"/>
              </a:endParaRPr>
            </a:p>
          </p:txBody>
        </p:sp>
      </p:grpSp>
      <p:grpSp>
        <p:nvGrpSpPr>
          <p:cNvPr id="28" name="Agrupar 27">
            <a:extLst>
              <a:ext uri="{FF2B5EF4-FFF2-40B4-BE49-F238E27FC236}">
                <a16:creationId xmlns:a16="http://schemas.microsoft.com/office/drawing/2014/main" id="{5783694C-B211-CFFD-D771-8A732F1CE25A}"/>
              </a:ext>
            </a:extLst>
          </p:cNvPr>
          <p:cNvGrpSpPr/>
          <p:nvPr/>
        </p:nvGrpSpPr>
        <p:grpSpPr>
          <a:xfrm>
            <a:off x="15806" y="3944797"/>
            <a:ext cx="2357728" cy="2885440"/>
            <a:chOff x="3296875" y="2475871"/>
            <a:chExt cx="2174848" cy="2647131"/>
          </a:xfrm>
        </p:grpSpPr>
        <p:pic>
          <p:nvPicPr>
            <p:cNvPr id="29" name="Picture 4" descr="Os três pilares de qualquer investimento - A hora do dinheiro, pialres -  3-port.si">
              <a:extLst>
                <a:ext uri="{FF2B5EF4-FFF2-40B4-BE49-F238E27FC236}">
                  <a16:creationId xmlns:a16="http://schemas.microsoft.com/office/drawing/2014/main" id="{943C1E86-6DDC-1987-39F2-19C80BCF82DB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6">
              <a:extLst>
                <a:ext uri="{BEBA8EAE-BF5A-486C-A8C5-ECC9F3942E4B}">
                  <a14:imgProps xmlns:a14="http://schemas.microsoft.com/office/drawing/2010/main">
                    <a14:imgLayer r:embed="rId7">
                      <a14:imgEffect>
                        <a14:backgroundRemoval t="34831" b="99251" l="8563" r="33500">
                          <a14:foregroundMark x1="8563" y1="53059" x2="8750" y2="47566"/>
                          <a14:foregroundMark x1="33188" y1="47066" x2="33375" y2="52684"/>
                          <a14:foregroundMark x1="33063" y1="53933" x2="32063" y2="55181"/>
                          <a14:foregroundMark x1="33125" y1="53933" x2="31938" y2="56305"/>
                          <a14:foregroundMark x1="17688" y1="95131" x2="23938" y2="95506"/>
                          <a14:foregroundMark x1="23938" y1="95506" x2="25875" y2="94757"/>
                          <a14:foregroundMark x1="19188" y1="98752" x2="21625" y2="99251"/>
                          <a14:backgroundMark x1="6938" y1="33583" x2="9563" y2="33084"/>
                          <a14:backgroundMark x1="8125" y1="32959" x2="17875" y2="32959"/>
                        </a14:backgroundRemoval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160" t="27936" r="63394" b="-157"/>
            <a:stretch/>
          </p:blipFill>
          <p:spPr bwMode="auto">
            <a:xfrm>
              <a:off x="3296875" y="2706373"/>
              <a:ext cx="2034742" cy="241662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0" name="Espaço Reservado para Conteúdo 2">
              <a:extLst>
                <a:ext uri="{FF2B5EF4-FFF2-40B4-BE49-F238E27FC236}">
                  <a16:creationId xmlns:a16="http://schemas.microsoft.com/office/drawing/2014/main" id="{B5B8FE8E-C296-1DB8-3FE4-6604067D64C1}"/>
                </a:ext>
              </a:extLst>
            </p:cNvPr>
            <p:cNvSpPr txBox="1">
              <a:spLocks/>
            </p:cNvSpPr>
            <p:nvPr/>
          </p:nvSpPr>
          <p:spPr>
            <a:xfrm>
              <a:off x="3306371" y="2475871"/>
              <a:ext cx="2165352" cy="432707"/>
            </a:xfrm>
            <a:prstGeom prst="rect">
              <a:avLst/>
            </a:prstGeom>
          </p:spPr>
          <p:txBody>
            <a:bodyPr vert="horz" lIns="91440" tIns="45720" rIns="91440" bIns="45720" rtlCol="0" anchor="t">
              <a:normAutofit/>
            </a:bodyPr>
            <a:lstStyle>
              <a:lvl1pPr marL="171450" indent="-171450" algn="l" defTabSz="685800" rtl="0" eaLnBrk="1" latinLnBrk="0" hangingPunct="1">
                <a:lnSpc>
                  <a:spcPct val="90000"/>
                </a:lnSpc>
                <a:spcBef>
                  <a:spcPts val="750"/>
                </a:spcBef>
                <a:buFont typeface="Arial" panose="020B0604020202020204" pitchFamily="34" charset="0"/>
                <a:buChar char="•"/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14350" indent="-171450" algn="l" defTabSz="68580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57250" indent="-171450" algn="l" defTabSz="68580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00150" indent="-171450" algn="l" defTabSz="68580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543050" indent="-171450" algn="l" defTabSz="68580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885950" indent="-171450" algn="l" defTabSz="68580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228850" indent="-171450" algn="l" defTabSz="68580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571750" indent="-171450" algn="l" defTabSz="68580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914650" indent="-171450" algn="l" defTabSz="68580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pt-BR" sz="2000" b="1" dirty="0">
                  <a:solidFill>
                    <a:schemeClr val="bg2"/>
                  </a:solidFill>
                  <a:latin typeface="Candara" panose="020E0502030303020204" pitchFamily="34" charset="0"/>
                </a:rPr>
                <a:t>Monitoramento</a:t>
              </a:r>
            </a:p>
            <a:p>
              <a:endParaRPr lang="pt-BR" sz="2000" dirty="0">
                <a:solidFill>
                  <a:schemeClr val="bg2"/>
                </a:solidFill>
                <a:latin typeface="Candara" panose="020E0502030303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8370628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0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1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1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10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10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10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10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046D6699-0BA1-4A22-E739-2BB5EEE6970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m 2" descr="Interface gráfica do usuário&#10;&#10;O conteúdo gerado por IA pode estar incorreto.">
            <a:extLst>
              <a:ext uri="{FF2B5EF4-FFF2-40B4-BE49-F238E27FC236}">
                <a16:creationId xmlns:a16="http://schemas.microsoft.com/office/drawing/2014/main" id="{E18D9CA0-18A8-FEB6-EF49-62B0EB7D646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6447" y="248306"/>
            <a:ext cx="1371600" cy="561358"/>
          </a:xfrm>
          <a:prstGeom prst="rect">
            <a:avLst/>
          </a:prstGeom>
        </p:spPr>
      </p:pic>
      <p:pic>
        <p:nvPicPr>
          <p:cNvPr id="1026" name="Picture 2" descr="logo claro PNG &amp; clipart images | Citypng">
            <a:extLst>
              <a:ext uri="{FF2B5EF4-FFF2-40B4-BE49-F238E27FC236}">
                <a16:creationId xmlns:a16="http://schemas.microsoft.com/office/drawing/2014/main" id="{AF2F90F9-93B4-D0FE-741A-57B7E3556EAC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ackgroundRemoval t="8875" b="90500" l="9625" r="90375">
                        <a14:foregroundMark x1="35125" y1="42750" x2="35125" y2="42750"/>
                        <a14:foregroundMark x1="35250" y1="45125" x2="33750" y2="54125"/>
                        <a14:foregroundMark x1="33750" y1="54125" x2="41375" y2="48750"/>
                        <a14:foregroundMark x1="41375" y1="48750" x2="36875" y2="40375"/>
                        <a14:foregroundMark x1="36875" y1="40375" x2="31375" y2="43625"/>
                        <a14:foregroundMark x1="22000" y1="41875" x2="12375" y2="50500"/>
                        <a14:foregroundMark x1="12375" y1="50500" x2="25625" y2="62375"/>
                        <a14:foregroundMark x1="25625" y1="62375" x2="52750" y2="64125"/>
                        <a14:foregroundMark x1="52750" y1="64125" x2="73500" y2="62500"/>
                        <a14:foregroundMark x1="73500" y1="62500" x2="87375" y2="56375"/>
                        <a14:foregroundMark x1="87375" y1="56375" x2="87125" y2="45625"/>
                        <a14:foregroundMark x1="87125" y1="45625" x2="84625" y2="37625"/>
                        <a14:foregroundMark x1="84625" y1="37625" x2="76500" y2="32125"/>
                        <a14:foregroundMark x1="76500" y1="32125" x2="57500" y2="27250"/>
                        <a14:foregroundMark x1="57500" y1="27250" x2="20250" y2="28750"/>
                        <a14:foregroundMark x1="20250" y1="28750" x2="15750" y2="38375"/>
                        <a14:foregroundMark x1="15750" y1="38375" x2="12250" y2="41125"/>
                        <a14:foregroundMark x1="28375" y1="36125" x2="17625" y2="48125"/>
                        <a14:foregroundMark x1="17625" y1="48125" x2="23875" y2="57625"/>
                        <a14:foregroundMark x1="23875" y1="57625" x2="34500" y2="44000"/>
                        <a14:foregroundMark x1="34500" y1="44000" x2="21250" y2="39375"/>
                        <a14:foregroundMark x1="21250" y1="39375" x2="19250" y2="41250"/>
                        <a14:foregroundMark x1="26250" y1="40250" x2="27375" y2="52750"/>
                        <a14:foregroundMark x1="27375" y1="52750" x2="28875" y2="40125"/>
                        <a14:foregroundMark x1="28875" y1="40125" x2="18750" y2="45500"/>
                        <a14:foregroundMark x1="18750" y1="45500" x2="20750" y2="48625"/>
                        <a14:foregroundMark x1="26875" y1="40625" x2="27375" y2="58250"/>
                        <a14:foregroundMark x1="27375" y1="58250" x2="30625" y2="48375"/>
                        <a14:foregroundMark x1="30625" y1="48375" x2="20375" y2="51125"/>
                        <a14:foregroundMark x1="20375" y1="51125" x2="20375" y2="52375"/>
                        <a14:foregroundMark x1="19125" y1="42500" x2="25500" y2="55125"/>
                        <a14:foregroundMark x1="25500" y1="55125" x2="25125" y2="59500"/>
                        <a14:foregroundMark x1="22250" y1="56750" x2="21750" y2="58125"/>
                        <a14:foregroundMark x1="38500" y1="39875" x2="29750" y2="53250"/>
                        <a14:foregroundMark x1="29750" y1="53250" x2="34875" y2="62125"/>
                        <a14:foregroundMark x1="34875" y1="62125" x2="39750" y2="49375"/>
                        <a14:foregroundMark x1="39750" y1="49375" x2="36125" y2="43000"/>
                        <a14:foregroundMark x1="43375" y1="42375" x2="41000" y2="60750"/>
                        <a14:foregroundMark x1="41000" y1="60750" x2="51625" y2="47750"/>
                        <a14:foregroundMark x1="51625" y1="47750" x2="43375" y2="46875"/>
                        <a14:foregroundMark x1="43375" y1="46875" x2="41375" y2="48000"/>
                        <a14:foregroundMark x1="47125" y1="50750" x2="48375" y2="59000"/>
                        <a14:foregroundMark x1="48375" y1="59000" x2="45125" y2="53500"/>
                        <a14:foregroundMark x1="53625" y1="43250" x2="52125" y2="50125"/>
                        <a14:foregroundMark x1="52125" y1="50125" x2="54125" y2="58375"/>
                        <a14:foregroundMark x1="54125" y1="58375" x2="58125" y2="50500"/>
                        <a14:foregroundMark x1="58125" y1="50500" x2="53250" y2="45125"/>
                        <a14:foregroundMark x1="53250" y1="45125" x2="51500" y2="45375"/>
                        <a14:foregroundMark x1="58625" y1="42000" x2="59750" y2="52125"/>
                        <a14:foregroundMark x1="59750" y1="52125" x2="57750" y2="45000"/>
                        <a14:foregroundMark x1="63000" y1="45375" x2="61000" y2="62375"/>
                        <a14:foregroundMark x1="61000" y1="62375" x2="73375" y2="56375"/>
                        <a14:foregroundMark x1="73375" y1="56375" x2="72000" y2="45625"/>
                        <a14:foregroundMark x1="72000" y1="45625" x2="64375" y2="43500"/>
                        <a14:foregroundMark x1="64375" y1="43500" x2="61750" y2="33375"/>
                        <a14:foregroundMark x1="61750" y1="33375" x2="72625" y2="31250"/>
                        <a14:foregroundMark x1="72625" y1="31250" x2="67750" y2="44000"/>
                        <a14:foregroundMark x1="67750" y1="44000" x2="73125" y2="38125"/>
                        <a14:foregroundMark x1="73125" y1="38125" x2="81750" y2="37125"/>
                        <a14:foregroundMark x1="81750" y1="37125" x2="77625" y2="50250"/>
                        <a14:foregroundMark x1="77625" y1="50250" x2="81750" y2="52375"/>
                        <a14:foregroundMark x1="68875" y1="31750" x2="67125" y2="43250"/>
                        <a14:foregroundMark x1="67125" y1="43250" x2="69125" y2="34625"/>
                        <a14:foregroundMark x1="78750" y1="32500" x2="75250" y2="44500"/>
                        <a14:foregroundMark x1="75250" y1="44500" x2="79875" y2="36750"/>
                        <a14:foregroundMark x1="79875" y1="36750" x2="76875" y2="36375"/>
                        <a14:foregroundMark x1="78750" y1="46625" x2="80125" y2="55500"/>
                        <a14:foregroundMark x1="80125" y1="55500" x2="80750" y2="46125"/>
                        <a14:foregroundMark x1="80750" y1="46125" x2="77750" y2="45875"/>
                        <a14:foregroundMark x1="90375" y1="44000" x2="88750" y2="56375"/>
                        <a14:foregroundMark x1="45750" y1="10250" x2="57875" y2="11500"/>
                        <a14:foregroundMark x1="54125" y1="8875" x2="53500" y2="9125"/>
                        <a14:foregroundMark x1="49500" y1="90500" x2="54125" y2="89500"/>
                        <a14:foregroundMark x1="9625" y1="49625" x2="11000" y2="47125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3256" t="7288" r="7881" b="3666"/>
          <a:stretch>
            <a:fillRect/>
          </a:stretch>
        </p:blipFill>
        <p:spPr bwMode="auto">
          <a:xfrm>
            <a:off x="11238614" y="5890437"/>
            <a:ext cx="733648" cy="7351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CaixaDeTexto 1">
            <a:extLst>
              <a:ext uri="{FF2B5EF4-FFF2-40B4-BE49-F238E27FC236}">
                <a16:creationId xmlns:a16="http://schemas.microsoft.com/office/drawing/2014/main" id="{45182163-BCC9-7D2F-3B5F-D9CB45507BDE}"/>
              </a:ext>
            </a:extLst>
          </p:cNvPr>
          <p:cNvSpPr txBox="1"/>
          <p:nvPr/>
        </p:nvSpPr>
        <p:spPr>
          <a:xfrm>
            <a:off x="2413588" y="3028890"/>
            <a:ext cx="736482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>
              <a:spcBef>
                <a:spcPts val="1200"/>
              </a:spcBef>
            </a:pPr>
            <a:r>
              <a:rPr lang="da-DK" sz="3600" b="1" i="1" dirty="0">
                <a:solidFill>
                  <a:schemeClr val="bg1">
                    <a:lumMod val="95000"/>
                  </a:schemeClr>
                </a:solidFill>
                <a:latin typeface="Candara" panose="020E0502030303020204" pitchFamily="34" charset="0"/>
                <a:ea typeface="Quattrocento Sans"/>
                <a:cs typeface="Times New Roman" panose="02020603050405020304" pitchFamily="18" charset="0"/>
                <a:sym typeface="Quattrocento Sans"/>
              </a:rPr>
              <a:t>ILUMINAÇÃO</a:t>
            </a:r>
            <a:r>
              <a:rPr lang="da-DK" sz="2000" b="1" i="1" dirty="0">
                <a:solidFill>
                  <a:schemeClr val="bg1">
                    <a:lumMod val="95000"/>
                  </a:schemeClr>
                </a:solidFill>
                <a:latin typeface="Candara" panose="020E0502030303020204" pitchFamily="34" charset="0"/>
                <a:ea typeface="Quattrocento Sans"/>
                <a:cs typeface="Times New Roman" panose="02020603050405020304" pitchFamily="18" charset="0"/>
                <a:sym typeface="Quattrocento Sans"/>
              </a:rPr>
              <a:t> </a:t>
            </a:r>
          </a:p>
        </p:txBody>
      </p:sp>
      <p:pic>
        <p:nvPicPr>
          <p:cNvPr id="20" name="Imagem 19">
            <a:hlinkClick r:id="rId6"/>
            <a:extLst>
              <a:ext uri="{FF2B5EF4-FFF2-40B4-BE49-F238E27FC236}">
                <a16:creationId xmlns:a16="http://schemas.microsoft.com/office/drawing/2014/main" id="{912D8AE0-4CBF-5C05-8FF8-78284B8FCA6F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 rot="328715">
            <a:off x="11101564" y="166786"/>
            <a:ext cx="594251" cy="947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0740905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046D6699-0BA1-4A22-E739-2BB5EEE6970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m 2" descr="Interface gráfica do usuário&#10;&#10;O conteúdo gerado por IA pode estar incorreto.">
            <a:extLst>
              <a:ext uri="{FF2B5EF4-FFF2-40B4-BE49-F238E27FC236}">
                <a16:creationId xmlns:a16="http://schemas.microsoft.com/office/drawing/2014/main" id="{E18D9CA0-18A8-FEB6-EF49-62B0EB7D6469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6447" y="248306"/>
            <a:ext cx="1371600" cy="561358"/>
          </a:xfrm>
          <a:prstGeom prst="rect">
            <a:avLst/>
          </a:prstGeom>
        </p:spPr>
      </p:pic>
      <p:pic>
        <p:nvPicPr>
          <p:cNvPr id="1026" name="Picture 2" descr="logo claro PNG &amp; clipart images | Citypng">
            <a:extLst>
              <a:ext uri="{FF2B5EF4-FFF2-40B4-BE49-F238E27FC236}">
                <a16:creationId xmlns:a16="http://schemas.microsoft.com/office/drawing/2014/main" id="{AF2F90F9-93B4-D0FE-741A-57B7E3556EAC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ackgroundRemoval t="8875" b="90500" l="9625" r="90375">
                        <a14:foregroundMark x1="35125" y1="42750" x2="35125" y2="42750"/>
                        <a14:foregroundMark x1="35250" y1="45125" x2="33750" y2="54125"/>
                        <a14:foregroundMark x1="33750" y1="54125" x2="41375" y2="48750"/>
                        <a14:foregroundMark x1="41375" y1="48750" x2="36875" y2="40375"/>
                        <a14:foregroundMark x1="36875" y1="40375" x2="31375" y2="43625"/>
                        <a14:foregroundMark x1="22000" y1="41875" x2="12375" y2="50500"/>
                        <a14:foregroundMark x1="12375" y1="50500" x2="25625" y2="62375"/>
                        <a14:foregroundMark x1="25625" y1="62375" x2="52750" y2="64125"/>
                        <a14:foregroundMark x1="52750" y1="64125" x2="73500" y2="62500"/>
                        <a14:foregroundMark x1="73500" y1="62500" x2="87375" y2="56375"/>
                        <a14:foregroundMark x1="87375" y1="56375" x2="87125" y2="45625"/>
                        <a14:foregroundMark x1="87125" y1="45625" x2="84625" y2="37625"/>
                        <a14:foregroundMark x1="84625" y1="37625" x2="76500" y2="32125"/>
                        <a14:foregroundMark x1="76500" y1="32125" x2="57500" y2="27250"/>
                        <a14:foregroundMark x1="57500" y1="27250" x2="20250" y2="28750"/>
                        <a14:foregroundMark x1="20250" y1="28750" x2="15750" y2="38375"/>
                        <a14:foregroundMark x1="15750" y1="38375" x2="12250" y2="41125"/>
                        <a14:foregroundMark x1="28375" y1="36125" x2="17625" y2="48125"/>
                        <a14:foregroundMark x1="17625" y1="48125" x2="23875" y2="57625"/>
                        <a14:foregroundMark x1="23875" y1="57625" x2="34500" y2="44000"/>
                        <a14:foregroundMark x1="34500" y1="44000" x2="21250" y2="39375"/>
                        <a14:foregroundMark x1="21250" y1="39375" x2="19250" y2="41250"/>
                        <a14:foregroundMark x1="26250" y1="40250" x2="27375" y2="52750"/>
                        <a14:foregroundMark x1="27375" y1="52750" x2="28875" y2="40125"/>
                        <a14:foregroundMark x1="28875" y1="40125" x2="18750" y2="45500"/>
                        <a14:foregroundMark x1="18750" y1="45500" x2="20750" y2="48625"/>
                        <a14:foregroundMark x1="26875" y1="40625" x2="27375" y2="58250"/>
                        <a14:foregroundMark x1="27375" y1="58250" x2="30625" y2="48375"/>
                        <a14:foregroundMark x1="30625" y1="48375" x2="20375" y2="51125"/>
                        <a14:foregroundMark x1="20375" y1="51125" x2="20375" y2="52375"/>
                        <a14:foregroundMark x1="19125" y1="42500" x2="25500" y2="55125"/>
                        <a14:foregroundMark x1="25500" y1="55125" x2="25125" y2="59500"/>
                        <a14:foregroundMark x1="22250" y1="56750" x2="21750" y2="58125"/>
                        <a14:foregroundMark x1="38500" y1="39875" x2="29750" y2="53250"/>
                        <a14:foregroundMark x1="29750" y1="53250" x2="34875" y2="62125"/>
                        <a14:foregroundMark x1="34875" y1="62125" x2="39750" y2="49375"/>
                        <a14:foregroundMark x1="39750" y1="49375" x2="36125" y2="43000"/>
                        <a14:foregroundMark x1="43375" y1="42375" x2="41000" y2="60750"/>
                        <a14:foregroundMark x1="41000" y1="60750" x2="51625" y2="47750"/>
                        <a14:foregroundMark x1="51625" y1="47750" x2="43375" y2="46875"/>
                        <a14:foregroundMark x1="43375" y1="46875" x2="41375" y2="48000"/>
                        <a14:foregroundMark x1="47125" y1="50750" x2="48375" y2="59000"/>
                        <a14:foregroundMark x1="48375" y1="59000" x2="45125" y2="53500"/>
                        <a14:foregroundMark x1="53625" y1="43250" x2="52125" y2="50125"/>
                        <a14:foregroundMark x1="52125" y1="50125" x2="54125" y2="58375"/>
                        <a14:foregroundMark x1="54125" y1="58375" x2="58125" y2="50500"/>
                        <a14:foregroundMark x1="58125" y1="50500" x2="53250" y2="45125"/>
                        <a14:foregroundMark x1="53250" y1="45125" x2="51500" y2="45375"/>
                        <a14:foregroundMark x1="58625" y1="42000" x2="59750" y2="52125"/>
                        <a14:foregroundMark x1="59750" y1="52125" x2="57750" y2="45000"/>
                        <a14:foregroundMark x1="63000" y1="45375" x2="61000" y2="62375"/>
                        <a14:foregroundMark x1="61000" y1="62375" x2="73375" y2="56375"/>
                        <a14:foregroundMark x1="73375" y1="56375" x2="72000" y2="45625"/>
                        <a14:foregroundMark x1="72000" y1="45625" x2="64375" y2="43500"/>
                        <a14:foregroundMark x1="64375" y1="43500" x2="61750" y2="33375"/>
                        <a14:foregroundMark x1="61750" y1="33375" x2="72625" y2="31250"/>
                        <a14:foregroundMark x1="72625" y1="31250" x2="67750" y2="44000"/>
                        <a14:foregroundMark x1="67750" y1="44000" x2="73125" y2="38125"/>
                        <a14:foregroundMark x1="73125" y1="38125" x2="81750" y2="37125"/>
                        <a14:foregroundMark x1="81750" y1="37125" x2="77625" y2="50250"/>
                        <a14:foregroundMark x1="77625" y1="50250" x2="81750" y2="52375"/>
                        <a14:foregroundMark x1="68875" y1="31750" x2="67125" y2="43250"/>
                        <a14:foregroundMark x1="67125" y1="43250" x2="69125" y2="34625"/>
                        <a14:foregroundMark x1="78750" y1="32500" x2="75250" y2="44500"/>
                        <a14:foregroundMark x1="75250" y1="44500" x2="79875" y2="36750"/>
                        <a14:foregroundMark x1="79875" y1="36750" x2="76875" y2="36375"/>
                        <a14:foregroundMark x1="78750" y1="46625" x2="80125" y2="55500"/>
                        <a14:foregroundMark x1="80125" y1="55500" x2="80750" y2="46125"/>
                        <a14:foregroundMark x1="80750" y1="46125" x2="77750" y2="45875"/>
                        <a14:foregroundMark x1="90375" y1="44000" x2="88750" y2="56375"/>
                        <a14:foregroundMark x1="45750" y1="10250" x2="57875" y2="11500"/>
                        <a14:foregroundMark x1="54125" y1="8875" x2="53500" y2="9125"/>
                        <a14:foregroundMark x1="49500" y1="90500" x2="54125" y2="89500"/>
                        <a14:foregroundMark x1="9625" y1="49625" x2="11000" y2="47125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3256" t="7288" r="7881" b="3666"/>
          <a:stretch>
            <a:fillRect/>
          </a:stretch>
        </p:blipFill>
        <p:spPr bwMode="auto">
          <a:xfrm>
            <a:off x="11238614" y="5890437"/>
            <a:ext cx="733648" cy="7351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CaixaDeTexto 1">
            <a:extLst>
              <a:ext uri="{FF2B5EF4-FFF2-40B4-BE49-F238E27FC236}">
                <a16:creationId xmlns:a16="http://schemas.microsoft.com/office/drawing/2014/main" id="{45182163-BCC9-7D2F-3B5F-D9CB45507BDE}"/>
              </a:ext>
            </a:extLst>
          </p:cNvPr>
          <p:cNvSpPr txBox="1"/>
          <p:nvPr/>
        </p:nvSpPr>
        <p:spPr>
          <a:xfrm>
            <a:off x="2246064" y="440332"/>
            <a:ext cx="736482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>
              <a:spcBef>
                <a:spcPts val="1200"/>
              </a:spcBef>
            </a:pPr>
            <a:r>
              <a:rPr lang="da-DK" sz="2000" b="1" i="1" dirty="0">
                <a:solidFill>
                  <a:schemeClr val="bg1">
                    <a:lumMod val="95000"/>
                  </a:schemeClr>
                </a:solidFill>
                <a:latin typeface="Candara" panose="020E0502030303020204" pitchFamily="34" charset="0"/>
                <a:ea typeface="Quattrocento Sans"/>
                <a:cs typeface="Times New Roman" panose="02020603050405020304" pitchFamily="18" charset="0"/>
                <a:sym typeface="Quattrocento Sans"/>
              </a:rPr>
              <a:t>Lâmpada Inteligente E27 TGB Wi-Fi Geonav</a:t>
            </a:r>
          </a:p>
        </p:txBody>
      </p:sp>
      <p:pic>
        <p:nvPicPr>
          <p:cNvPr id="20" name="Imagem 19">
            <a:hlinkClick r:id="rId8"/>
            <a:extLst>
              <a:ext uri="{FF2B5EF4-FFF2-40B4-BE49-F238E27FC236}">
                <a16:creationId xmlns:a16="http://schemas.microsoft.com/office/drawing/2014/main" id="{912D8AE0-4CBF-5C05-8FF8-78284B8FCA6F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 rot="328715">
            <a:off x="11101564" y="166786"/>
            <a:ext cx="594251" cy="947200"/>
          </a:xfrm>
          <a:prstGeom prst="rect">
            <a:avLst/>
          </a:prstGeom>
        </p:spPr>
      </p:pic>
      <p:pic>
        <p:nvPicPr>
          <p:cNvPr id="25" name="WhatsApp Video 2024-10-03 at 09.34.41 (1)">
            <a:hlinkClick r:id="" action="ppaction://media"/>
            <a:extLst>
              <a:ext uri="{FF2B5EF4-FFF2-40B4-BE49-F238E27FC236}">
                <a16:creationId xmlns:a16="http://schemas.microsoft.com/office/drawing/2014/main" id="{71D1D1C3-9BCE-6A8D-169D-7C8520D753A1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10"/>
          <a:stretch>
            <a:fillRect/>
          </a:stretch>
        </p:blipFill>
        <p:spPr>
          <a:xfrm>
            <a:off x="1436424" y="1056640"/>
            <a:ext cx="9319151" cy="5242021"/>
          </a:xfrm>
          <a:prstGeom prst="roundRect">
            <a:avLst>
              <a:gd name="adj" fmla="val 6564"/>
            </a:avLst>
          </a:prstGeom>
        </p:spPr>
      </p:pic>
    </p:spTree>
    <p:extLst>
      <p:ext uri="{BB962C8B-B14F-4D97-AF65-F5344CB8AC3E}">
        <p14:creationId xmlns:p14="http://schemas.microsoft.com/office/powerpoint/2010/main" val="42364140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21866" fill="hold"/>
                                        <p:tgtEl>
                                          <p:spTgt spid="2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seq concurrent="1" nextAc="seek">
              <p:cTn id="7" restart="whenNotActive" fill="hold" evtFilter="cancelBubble" nodeType="interactiveSeq">
                <p:stCondLst>
                  <p:cond evt="onClick" delay="0">
                    <p:tgtEl>
                      <p:spTgt spid="2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8" fill="hold">
                      <p:stCondLst>
                        <p:cond delay="0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1" dur="1" fill="hold"/>
                                        <p:tgtEl>
                                          <p:spTgt spid="2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25"/>
                  </p:tgtEl>
                </p:cond>
              </p:nextCondLst>
            </p:seq>
            <p:video>
              <p:cMediaNode vol="80000">
                <p:cTn id="12" fill="hold" display="0">
                  <p:stCondLst>
                    <p:cond delay="indefinite"/>
                  </p:stCondLst>
                </p:cTn>
                <p:tgtEl>
                  <p:spTgt spid="25"/>
                </p:tgtEl>
              </p:cMediaNode>
            </p:video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iKQpljuT0Gqo9WTlA1qcQ"/>
</p:tagLst>
</file>

<file path=ppt/theme/theme1.xml><?xml version="1.0" encoding="utf-8"?>
<a:theme xmlns:a="http://schemas.openxmlformats.org/drawingml/2006/main" name="Tema do Offic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2.xml><?xml version="1.0" encoding="utf-8"?>
<a:theme xmlns:a="http://schemas.openxmlformats.org/drawingml/2006/main" name="Tema do Offic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271</TotalTime>
  <Words>1319</Words>
  <Application>Microsoft Office PowerPoint</Application>
  <PresentationFormat>Widescreen</PresentationFormat>
  <Paragraphs>282</Paragraphs>
  <Slides>68</Slides>
  <Notes>0</Notes>
  <HiddenSlides>10</HiddenSlides>
  <MMClips>3</MMClips>
  <ScaleCrop>false</ScaleCrop>
  <HeadingPairs>
    <vt:vector size="6" baseType="variant">
      <vt:variant>
        <vt:lpstr>Fontes usadas</vt:lpstr>
      </vt:variant>
      <vt:variant>
        <vt:i4>13</vt:i4>
      </vt:variant>
      <vt:variant>
        <vt:lpstr>Tema</vt:lpstr>
      </vt:variant>
      <vt:variant>
        <vt:i4>1</vt:i4>
      </vt:variant>
      <vt:variant>
        <vt:lpstr>Títulos de slides</vt:lpstr>
      </vt:variant>
      <vt:variant>
        <vt:i4>68</vt:i4>
      </vt:variant>
    </vt:vector>
  </HeadingPairs>
  <TitlesOfParts>
    <vt:vector size="82" baseType="lpstr">
      <vt:lpstr>Aptos</vt:lpstr>
      <vt:lpstr>Aptos Display</vt:lpstr>
      <vt:lpstr>Arial</vt:lpstr>
      <vt:lpstr>Avenir Next LT Pro Demi</vt:lpstr>
      <vt:lpstr>Berlin Sans FB Demi</vt:lpstr>
      <vt:lpstr>Calibri</vt:lpstr>
      <vt:lpstr>Candara</vt:lpstr>
      <vt:lpstr>Intro Regular</vt:lpstr>
      <vt:lpstr>Intro SemiBold</vt:lpstr>
      <vt:lpstr>Lato</vt:lpstr>
      <vt:lpstr>Product Sans</vt:lpstr>
      <vt:lpstr>Segoe UI</vt:lpstr>
      <vt:lpstr>Wingdings</vt:lpstr>
      <vt:lpstr>Tema do Office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MAYCON RIBEIRO BELMIRO</dc:creator>
  <cp:lastModifiedBy>MAYCON RIBEIRO BELMIRO</cp:lastModifiedBy>
  <cp:revision>1</cp:revision>
  <dcterms:created xsi:type="dcterms:W3CDTF">2026-01-09T18:01:30Z</dcterms:created>
  <dcterms:modified xsi:type="dcterms:W3CDTF">2026-03-31T17:38:57Z</dcterms:modified>
</cp:coreProperties>
</file>